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4" r:id="rId2"/>
  </p:sldMasterIdLst>
  <p:notesMasterIdLst>
    <p:notesMasterId r:id="rId18"/>
  </p:notesMasterIdLst>
  <p:handoutMasterIdLst>
    <p:handoutMasterId r:id="rId19"/>
  </p:handoutMasterIdLst>
  <p:sldIdLst>
    <p:sldId id="292" r:id="rId3"/>
    <p:sldId id="268" r:id="rId4"/>
    <p:sldId id="285" r:id="rId5"/>
    <p:sldId id="263" r:id="rId6"/>
    <p:sldId id="275" r:id="rId7"/>
    <p:sldId id="274" r:id="rId8"/>
    <p:sldId id="273" r:id="rId9"/>
    <p:sldId id="276" r:id="rId10"/>
    <p:sldId id="279" r:id="rId11"/>
    <p:sldId id="280" r:id="rId12"/>
    <p:sldId id="372" r:id="rId13"/>
    <p:sldId id="272" r:id="rId14"/>
    <p:sldId id="282" r:id="rId15"/>
    <p:sldId id="284" r:id="rId16"/>
    <p:sldId id="37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04" userDrawn="1">
          <p15:clr>
            <a:srgbClr val="A4A3A4"/>
          </p15:clr>
        </p15:guide>
        <p15:guide id="2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D42"/>
    <a:srgbClr val="0E6B77"/>
    <a:srgbClr val="70AD47"/>
    <a:srgbClr val="43ADD7"/>
    <a:srgbClr val="9D2F9D"/>
    <a:srgbClr val="FB900E"/>
    <a:srgbClr val="00DDE0"/>
    <a:srgbClr val="9DB4C0"/>
    <a:srgbClr val="E6E6E6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49BF7E-13A7-4D7D-853E-806013949D32}" v="34" dt="2022-11-03T23:40:49.8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25" autoAdjust="0"/>
    <p:restoredTop sz="96357" autoAdjust="0"/>
  </p:normalViewPr>
  <p:slideViewPr>
    <p:cSldViewPr snapToGrid="0" showGuides="1">
      <p:cViewPr varScale="1">
        <p:scale>
          <a:sx n="67" d="100"/>
          <a:sy n="67" d="100"/>
        </p:scale>
        <p:origin x="280" y="52"/>
      </p:cViewPr>
      <p:guideLst>
        <p:guide orient="horz" pos="350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00"/>
    </p:cViewPr>
  </p:sorterViewPr>
  <p:notesViewPr>
    <p:cSldViewPr snapToGrid="0" showGuides="1">
      <p:cViewPr varScale="1">
        <p:scale>
          <a:sx n="83" d="100"/>
          <a:sy n="83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isin.Bennett" userId="be0de68c-0a12-4478-93a5-22c9acfc213a" providerId="ADAL" clId="{8749BF7E-13A7-4D7D-853E-806013949D32}"/>
    <pc:docChg chg="undo custSel addSld delSld modSld">
      <pc:chgData name="Roisin.Bennett" userId="be0de68c-0a12-4478-93a5-22c9acfc213a" providerId="ADAL" clId="{8749BF7E-13A7-4D7D-853E-806013949D32}" dt="2022-11-03T23:40:49.870" v="484"/>
      <pc:docMkLst>
        <pc:docMk/>
      </pc:docMkLst>
      <pc:sldChg chg="addSp delSp modSp mod">
        <pc:chgData name="Roisin.Bennett" userId="be0de68c-0a12-4478-93a5-22c9acfc213a" providerId="ADAL" clId="{8749BF7E-13A7-4D7D-853E-806013949D32}" dt="2022-11-03T23:17:36.840" v="456" actId="14100"/>
        <pc:sldMkLst>
          <pc:docMk/>
          <pc:sldMk cId="2961156294" sldId="263"/>
        </pc:sldMkLst>
        <pc:spChg chg="mod">
          <ac:chgData name="Roisin.Bennett" userId="be0de68c-0a12-4478-93a5-22c9acfc213a" providerId="ADAL" clId="{8749BF7E-13A7-4D7D-853E-806013949D32}" dt="2022-11-03T23:17:36.840" v="456" actId="14100"/>
          <ac:spMkLst>
            <pc:docMk/>
            <pc:sldMk cId="2961156294" sldId="263"/>
            <ac:spMk id="13" creationId="{28DC1350-0820-C919-D761-D1A233A039F3}"/>
          </ac:spMkLst>
        </pc:spChg>
        <pc:spChg chg="mod">
          <ac:chgData name="Roisin.Bennett" userId="be0de68c-0a12-4478-93a5-22c9acfc213a" providerId="ADAL" clId="{8749BF7E-13A7-4D7D-853E-806013949D32}" dt="2022-11-03T22:56:04.189" v="209" actId="14100"/>
          <ac:spMkLst>
            <pc:docMk/>
            <pc:sldMk cId="2961156294" sldId="263"/>
            <ac:spMk id="14" creationId="{7C0E8D4D-432F-2C1A-22FC-AD873E70297D}"/>
          </ac:spMkLst>
        </pc:spChg>
        <pc:spChg chg="mod">
          <ac:chgData name="Roisin.Bennett" userId="be0de68c-0a12-4478-93a5-22c9acfc213a" providerId="ADAL" clId="{8749BF7E-13A7-4D7D-853E-806013949D32}" dt="2022-11-03T23:15:06.163" v="447" actId="14100"/>
          <ac:spMkLst>
            <pc:docMk/>
            <pc:sldMk cId="2961156294" sldId="263"/>
            <ac:spMk id="21" creationId="{52B67B95-01FD-AC12-6474-EF9FBD0AE055}"/>
          </ac:spMkLst>
        </pc:spChg>
        <pc:spChg chg="mod">
          <ac:chgData name="Roisin.Bennett" userId="be0de68c-0a12-4478-93a5-22c9acfc213a" providerId="ADAL" clId="{8749BF7E-13A7-4D7D-853E-806013949D32}" dt="2022-11-03T23:15:15.914" v="448" actId="14100"/>
          <ac:spMkLst>
            <pc:docMk/>
            <pc:sldMk cId="2961156294" sldId="263"/>
            <ac:spMk id="31" creationId="{9785B8D4-6B84-6D0F-1018-5A216A1F3A1A}"/>
          </ac:spMkLst>
        </pc:spChg>
        <pc:spChg chg="mod">
          <ac:chgData name="Roisin.Bennett" userId="be0de68c-0a12-4478-93a5-22c9acfc213a" providerId="ADAL" clId="{8749BF7E-13A7-4D7D-853E-806013949D32}" dt="2022-11-03T23:09:41.336" v="427" actId="20577"/>
          <ac:spMkLst>
            <pc:docMk/>
            <pc:sldMk cId="2961156294" sldId="263"/>
            <ac:spMk id="32" creationId="{7A1AA31B-6188-0ECF-8E5A-424971C2DF4C}"/>
          </ac:spMkLst>
        </pc:spChg>
        <pc:spChg chg="mod">
          <ac:chgData name="Roisin.Bennett" userId="be0de68c-0a12-4478-93a5-22c9acfc213a" providerId="ADAL" clId="{8749BF7E-13A7-4D7D-853E-806013949D32}" dt="2022-11-03T23:14:58.263" v="446" actId="14100"/>
          <ac:spMkLst>
            <pc:docMk/>
            <pc:sldMk cId="2961156294" sldId="263"/>
            <ac:spMk id="34" creationId="{EA3B848F-01C4-C779-84CB-84E84C76544A}"/>
          </ac:spMkLst>
        </pc:spChg>
        <pc:spChg chg="mod">
          <ac:chgData name="Roisin.Bennett" userId="be0de68c-0a12-4478-93a5-22c9acfc213a" providerId="ADAL" clId="{8749BF7E-13A7-4D7D-853E-806013949D32}" dt="2022-11-03T23:14:03.682" v="443" actId="14100"/>
          <ac:spMkLst>
            <pc:docMk/>
            <pc:sldMk cId="2961156294" sldId="263"/>
            <ac:spMk id="47" creationId="{9B64C155-C188-4272-38D0-886C6AE5498A}"/>
          </ac:spMkLst>
        </pc:spChg>
        <pc:spChg chg="mod">
          <ac:chgData name="Roisin.Bennett" userId="be0de68c-0a12-4478-93a5-22c9acfc213a" providerId="ADAL" clId="{8749BF7E-13A7-4D7D-853E-806013949D32}" dt="2022-11-03T23:08:30.400" v="402" actId="1076"/>
          <ac:spMkLst>
            <pc:docMk/>
            <pc:sldMk cId="2961156294" sldId="263"/>
            <ac:spMk id="51" creationId="{5AE80AC6-66EF-7AF1-F349-EA2CC111A6BB}"/>
          </ac:spMkLst>
        </pc:spChg>
        <pc:spChg chg="mod">
          <ac:chgData name="Roisin.Bennett" userId="be0de68c-0a12-4478-93a5-22c9acfc213a" providerId="ADAL" clId="{8749BF7E-13A7-4D7D-853E-806013949D32}" dt="2022-11-03T23:06:41.661" v="354" actId="20577"/>
          <ac:spMkLst>
            <pc:docMk/>
            <pc:sldMk cId="2961156294" sldId="263"/>
            <ac:spMk id="53" creationId="{B8AEF8FF-177D-564E-7E79-4F147DC19FEB}"/>
          </ac:spMkLst>
        </pc:spChg>
        <pc:spChg chg="mod">
          <ac:chgData name="Roisin.Bennett" userId="be0de68c-0a12-4478-93a5-22c9acfc213a" providerId="ADAL" clId="{8749BF7E-13A7-4D7D-853E-806013949D32}" dt="2022-11-03T22:56:56.405" v="215" actId="20577"/>
          <ac:spMkLst>
            <pc:docMk/>
            <pc:sldMk cId="2961156294" sldId="263"/>
            <ac:spMk id="147" creationId="{1D4E9686-4A5C-BC7B-AEB8-F7A38F812C69}"/>
          </ac:spMkLst>
        </pc:spChg>
        <pc:spChg chg="mod">
          <ac:chgData name="Roisin.Bennett" userId="be0de68c-0a12-4478-93a5-22c9acfc213a" providerId="ADAL" clId="{8749BF7E-13A7-4D7D-853E-806013949D32}" dt="2022-11-03T23:16:28.244" v="454" actId="14100"/>
          <ac:spMkLst>
            <pc:docMk/>
            <pc:sldMk cId="2961156294" sldId="263"/>
            <ac:spMk id="154" creationId="{BA33D995-ED10-9C65-21EA-46EEA259A800}"/>
          </ac:spMkLst>
        </pc:spChg>
        <pc:spChg chg="add del mod">
          <ac:chgData name="Roisin.Bennett" userId="be0de68c-0a12-4478-93a5-22c9acfc213a" providerId="ADAL" clId="{8749BF7E-13A7-4D7D-853E-806013949D32}" dt="2022-11-03T23:16:33.175" v="455" actId="14100"/>
          <ac:spMkLst>
            <pc:docMk/>
            <pc:sldMk cId="2961156294" sldId="263"/>
            <ac:spMk id="155" creationId="{C18DC728-E504-E02D-5B2F-8E2A9822704B}"/>
          </ac:spMkLst>
        </pc:spChg>
        <pc:grpChg chg="mod">
          <ac:chgData name="Roisin.Bennett" userId="be0de68c-0a12-4478-93a5-22c9acfc213a" providerId="ADAL" clId="{8749BF7E-13A7-4D7D-853E-806013949D32}" dt="2022-11-03T23:13:52.658" v="442" actId="1076"/>
          <ac:grpSpMkLst>
            <pc:docMk/>
            <pc:sldMk cId="2961156294" sldId="263"/>
            <ac:grpSpMk id="72" creationId="{8AE7EA8D-8981-7518-02A7-C99E235026C3}"/>
          </ac:grpSpMkLst>
        </pc:grpChg>
        <pc:grpChg chg="mod">
          <ac:chgData name="Roisin.Bennett" userId="be0de68c-0a12-4478-93a5-22c9acfc213a" providerId="ADAL" clId="{8749BF7E-13A7-4D7D-853E-806013949D32}" dt="2022-11-03T23:08:56.772" v="405" actId="1076"/>
          <ac:grpSpMkLst>
            <pc:docMk/>
            <pc:sldMk cId="2961156294" sldId="263"/>
            <ac:grpSpMk id="84" creationId="{834C8629-F68B-780B-3B2E-B71D05ABD3F2}"/>
          </ac:grpSpMkLst>
        </pc:grpChg>
        <pc:picChg chg="mod">
          <ac:chgData name="Roisin.Bennett" userId="be0de68c-0a12-4478-93a5-22c9acfc213a" providerId="ADAL" clId="{8749BF7E-13A7-4D7D-853E-806013949D32}" dt="2022-11-03T22:58:51.513" v="231" actId="14100"/>
          <ac:picMkLst>
            <pc:docMk/>
            <pc:sldMk cId="2961156294" sldId="263"/>
            <ac:picMk id="20" creationId="{905EB78A-0F84-5EDA-4F11-755CF2B4A45C}"/>
          </ac:picMkLst>
        </pc:picChg>
        <pc:picChg chg="mod">
          <ac:chgData name="Roisin.Bennett" userId="be0de68c-0a12-4478-93a5-22c9acfc213a" providerId="ADAL" clId="{8749BF7E-13A7-4D7D-853E-806013949D32}" dt="2022-11-03T23:10:42.618" v="432" actId="14100"/>
          <ac:picMkLst>
            <pc:docMk/>
            <pc:sldMk cId="2961156294" sldId="263"/>
            <ac:picMk id="33" creationId="{BA52EA8A-512E-3789-CC30-4175E5A5DED5}"/>
          </ac:picMkLst>
        </pc:picChg>
        <pc:picChg chg="mod">
          <ac:chgData name="Roisin.Bennett" userId="be0de68c-0a12-4478-93a5-22c9acfc213a" providerId="ADAL" clId="{8749BF7E-13A7-4D7D-853E-806013949D32}" dt="2022-11-03T22:55:37.726" v="206" actId="1076"/>
          <ac:picMkLst>
            <pc:docMk/>
            <pc:sldMk cId="2961156294" sldId="263"/>
            <ac:picMk id="38" creationId="{EE26B06C-6569-34B1-9593-AE4CE3B80FCE}"/>
          </ac:picMkLst>
        </pc:picChg>
        <pc:picChg chg="mod">
          <ac:chgData name="Roisin.Bennett" userId="be0de68c-0a12-4478-93a5-22c9acfc213a" providerId="ADAL" clId="{8749BF7E-13A7-4D7D-853E-806013949D32}" dt="2022-11-03T23:10:25.148" v="430" actId="14100"/>
          <ac:picMkLst>
            <pc:docMk/>
            <pc:sldMk cId="2961156294" sldId="263"/>
            <ac:picMk id="40" creationId="{AE89D588-7C58-238F-9C5F-DA3C9EB24D6A}"/>
          </ac:picMkLst>
        </pc:picChg>
        <pc:picChg chg="mod">
          <ac:chgData name="Roisin.Bennett" userId="be0de68c-0a12-4478-93a5-22c9acfc213a" providerId="ADAL" clId="{8749BF7E-13A7-4D7D-853E-806013949D32}" dt="2022-11-03T23:10:47.457" v="433" actId="14100"/>
          <ac:picMkLst>
            <pc:docMk/>
            <pc:sldMk cId="2961156294" sldId="263"/>
            <ac:picMk id="45" creationId="{C9EC6C4F-7AA0-BA35-82CB-4D6ED9853B51}"/>
          </ac:picMkLst>
        </pc:picChg>
        <pc:picChg chg="mod">
          <ac:chgData name="Roisin.Bennett" userId="be0de68c-0a12-4478-93a5-22c9acfc213a" providerId="ADAL" clId="{8749BF7E-13A7-4D7D-853E-806013949D32}" dt="2022-11-03T23:10:32.451" v="431" actId="14100"/>
          <ac:picMkLst>
            <pc:docMk/>
            <pc:sldMk cId="2961156294" sldId="263"/>
            <ac:picMk id="48" creationId="{62254941-42B4-A62F-4B3E-D242565901DD}"/>
          </ac:picMkLst>
        </pc:picChg>
        <pc:picChg chg="mod">
          <ac:chgData name="Roisin.Bennett" userId="be0de68c-0a12-4478-93a5-22c9acfc213a" providerId="ADAL" clId="{8749BF7E-13A7-4D7D-853E-806013949D32}" dt="2022-11-03T23:10:50.358" v="434" actId="14100"/>
          <ac:picMkLst>
            <pc:docMk/>
            <pc:sldMk cId="2961156294" sldId="263"/>
            <ac:picMk id="50" creationId="{89A62185-5D84-9B76-7781-7A94273232D3}"/>
          </ac:picMkLst>
        </pc:picChg>
        <pc:picChg chg="mod">
          <ac:chgData name="Roisin.Bennett" userId="be0de68c-0a12-4478-93a5-22c9acfc213a" providerId="ADAL" clId="{8749BF7E-13A7-4D7D-853E-806013949D32}" dt="2022-11-03T23:11:04.308" v="436" actId="14100"/>
          <ac:picMkLst>
            <pc:docMk/>
            <pc:sldMk cId="2961156294" sldId="263"/>
            <ac:picMk id="52" creationId="{76202A08-33D4-C981-8ED1-B4478B13CB5C}"/>
          </ac:picMkLst>
        </pc:picChg>
        <pc:picChg chg="mod">
          <ac:chgData name="Roisin.Bennett" userId="be0de68c-0a12-4478-93a5-22c9acfc213a" providerId="ADAL" clId="{8749BF7E-13A7-4D7D-853E-806013949D32}" dt="2022-11-03T22:55:45.407" v="207" actId="1076"/>
          <ac:picMkLst>
            <pc:docMk/>
            <pc:sldMk cId="2961156294" sldId="263"/>
            <ac:picMk id="54" creationId="{718CF17A-4D0B-7039-0AD4-2C5725FB9C59}"/>
          </ac:picMkLst>
        </pc:picChg>
        <pc:picChg chg="mod">
          <ac:chgData name="Roisin.Bennett" userId="be0de68c-0a12-4478-93a5-22c9acfc213a" providerId="ADAL" clId="{8749BF7E-13A7-4D7D-853E-806013949D32}" dt="2022-11-03T22:54:25.848" v="199" actId="1076"/>
          <ac:picMkLst>
            <pc:docMk/>
            <pc:sldMk cId="2961156294" sldId="263"/>
            <ac:picMk id="56" creationId="{B3FA5108-D4BA-EE5F-007F-D0C853EE129E}"/>
          </ac:picMkLst>
        </pc:picChg>
        <pc:picChg chg="mod">
          <ac:chgData name="Roisin.Bennett" userId="be0de68c-0a12-4478-93a5-22c9acfc213a" providerId="ADAL" clId="{8749BF7E-13A7-4D7D-853E-806013949D32}" dt="2022-11-03T23:13:06.073" v="439" actId="14100"/>
          <ac:picMkLst>
            <pc:docMk/>
            <pc:sldMk cId="2961156294" sldId="263"/>
            <ac:picMk id="61" creationId="{A006A612-3D1C-FBE3-C741-D20B775BB5B4}"/>
          </ac:picMkLst>
        </pc:picChg>
        <pc:picChg chg="mod">
          <ac:chgData name="Roisin.Bennett" userId="be0de68c-0a12-4478-93a5-22c9acfc213a" providerId="ADAL" clId="{8749BF7E-13A7-4D7D-853E-806013949D32}" dt="2022-11-03T23:14:09.208" v="444" actId="1076"/>
          <ac:picMkLst>
            <pc:docMk/>
            <pc:sldMk cId="2961156294" sldId="263"/>
            <ac:picMk id="63" creationId="{3D3359B4-FFDA-BB33-110F-550A85EBBADD}"/>
          </ac:picMkLst>
        </pc:picChg>
        <pc:picChg chg="mod">
          <ac:chgData name="Roisin.Bennett" userId="be0de68c-0a12-4478-93a5-22c9acfc213a" providerId="ADAL" clId="{8749BF7E-13A7-4D7D-853E-806013949D32}" dt="2022-11-03T23:02:05.172" v="246" actId="1076"/>
          <ac:picMkLst>
            <pc:docMk/>
            <pc:sldMk cId="2961156294" sldId="263"/>
            <ac:picMk id="64" creationId="{E69EDB9E-CF52-E67D-5AF3-A26C6189B5FF}"/>
          </ac:picMkLst>
        </pc:picChg>
        <pc:picChg chg="mod">
          <ac:chgData name="Roisin.Bennett" userId="be0de68c-0a12-4478-93a5-22c9acfc213a" providerId="ADAL" clId="{8749BF7E-13A7-4D7D-853E-806013949D32}" dt="2022-11-03T23:14:18.729" v="445" actId="14100"/>
          <ac:picMkLst>
            <pc:docMk/>
            <pc:sldMk cId="2961156294" sldId="263"/>
            <ac:picMk id="65" creationId="{CC9AB6CB-D388-37FD-45B4-8C57744995F5}"/>
          </ac:picMkLst>
        </pc:picChg>
        <pc:picChg chg="mod">
          <ac:chgData name="Roisin.Bennett" userId="be0de68c-0a12-4478-93a5-22c9acfc213a" providerId="ADAL" clId="{8749BF7E-13A7-4D7D-853E-806013949D32}" dt="2022-11-03T23:06:04.566" v="321" actId="14100"/>
          <ac:picMkLst>
            <pc:docMk/>
            <pc:sldMk cId="2961156294" sldId="263"/>
            <ac:picMk id="73" creationId="{639EFC50-520A-620E-4327-FAABCC1716C1}"/>
          </ac:picMkLst>
        </pc:picChg>
        <pc:picChg chg="mod">
          <ac:chgData name="Roisin.Bennett" userId="be0de68c-0a12-4478-93a5-22c9acfc213a" providerId="ADAL" clId="{8749BF7E-13A7-4D7D-853E-806013949D32}" dt="2022-11-03T23:05:40.536" v="318" actId="1076"/>
          <ac:picMkLst>
            <pc:docMk/>
            <pc:sldMk cId="2961156294" sldId="263"/>
            <ac:picMk id="74" creationId="{C4024AA4-9B3A-CD89-DB02-F0DBBB88BC99}"/>
          </ac:picMkLst>
        </pc:picChg>
        <pc:picChg chg="mod">
          <ac:chgData name="Roisin.Bennett" userId="be0de68c-0a12-4478-93a5-22c9acfc213a" providerId="ADAL" clId="{8749BF7E-13A7-4D7D-853E-806013949D32}" dt="2022-11-03T23:05:47.300" v="319" actId="1076"/>
          <ac:picMkLst>
            <pc:docMk/>
            <pc:sldMk cId="2961156294" sldId="263"/>
            <ac:picMk id="75" creationId="{61ED7D25-C33C-BB29-6BCC-1C9861AD521D}"/>
          </ac:picMkLst>
        </pc:picChg>
        <pc:picChg chg="mod">
          <ac:chgData name="Roisin.Bennett" userId="be0de68c-0a12-4478-93a5-22c9acfc213a" providerId="ADAL" clId="{8749BF7E-13A7-4D7D-853E-806013949D32}" dt="2022-11-03T23:13:00.123" v="438" actId="14100"/>
          <ac:picMkLst>
            <pc:docMk/>
            <pc:sldMk cId="2961156294" sldId="263"/>
            <ac:picMk id="79" creationId="{A056CD0B-1100-4675-06F3-DC42BA366BD1}"/>
          </ac:picMkLst>
        </pc:picChg>
        <pc:picChg chg="mod">
          <ac:chgData name="Roisin.Bennett" userId="be0de68c-0a12-4478-93a5-22c9acfc213a" providerId="ADAL" clId="{8749BF7E-13A7-4D7D-853E-806013949D32}" dt="2022-11-03T23:11:52.956" v="437" actId="14100"/>
          <ac:picMkLst>
            <pc:docMk/>
            <pc:sldMk cId="2961156294" sldId="263"/>
            <ac:picMk id="119" creationId="{40A6B997-6AB3-465A-00D6-DE4B98376063}"/>
          </ac:picMkLst>
        </pc:picChg>
        <pc:picChg chg="mod">
          <ac:chgData name="Roisin.Bennett" userId="be0de68c-0a12-4478-93a5-22c9acfc213a" providerId="ADAL" clId="{8749BF7E-13A7-4D7D-853E-806013949D32}" dt="2022-11-03T22:58:46.916" v="230" actId="1076"/>
          <ac:picMkLst>
            <pc:docMk/>
            <pc:sldMk cId="2961156294" sldId="263"/>
            <ac:picMk id="121" creationId="{28402E1C-C235-8494-0F1D-9C86B13139F6}"/>
          </ac:picMkLst>
        </pc:picChg>
        <pc:picChg chg="mod">
          <ac:chgData name="Roisin.Bennett" userId="be0de68c-0a12-4478-93a5-22c9acfc213a" providerId="ADAL" clId="{8749BF7E-13A7-4D7D-853E-806013949D32}" dt="2022-11-03T23:16:13.936" v="452" actId="1076"/>
          <ac:picMkLst>
            <pc:docMk/>
            <pc:sldMk cId="2961156294" sldId="263"/>
            <ac:picMk id="127" creationId="{B2846B97-32DC-B838-4FD0-3B504AA2FAC6}"/>
          </ac:picMkLst>
        </pc:picChg>
        <pc:picChg chg="mod">
          <ac:chgData name="Roisin.Bennett" userId="be0de68c-0a12-4478-93a5-22c9acfc213a" providerId="ADAL" clId="{8749BF7E-13A7-4D7D-853E-806013949D32}" dt="2022-11-03T22:57:53.073" v="223" actId="1076"/>
          <ac:picMkLst>
            <pc:docMk/>
            <pc:sldMk cId="2961156294" sldId="263"/>
            <ac:picMk id="129" creationId="{6996F84B-72B6-B5A1-C04D-9253D8A8DEAF}"/>
          </ac:picMkLst>
        </pc:picChg>
        <pc:picChg chg="mod">
          <ac:chgData name="Roisin.Bennett" userId="be0de68c-0a12-4478-93a5-22c9acfc213a" providerId="ADAL" clId="{8749BF7E-13A7-4D7D-853E-806013949D32}" dt="2022-11-03T22:58:43.316" v="229" actId="1076"/>
          <ac:picMkLst>
            <pc:docMk/>
            <pc:sldMk cId="2961156294" sldId="263"/>
            <ac:picMk id="131" creationId="{4488C861-BFB2-A541-B7EF-F54059A53A66}"/>
          </ac:picMkLst>
        </pc:picChg>
      </pc:sldChg>
      <pc:sldChg chg="addSp delSp modSp mod">
        <pc:chgData name="Roisin.Bennett" userId="be0de68c-0a12-4478-93a5-22c9acfc213a" providerId="ADAL" clId="{8749BF7E-13A7-4D7D-853E-806013949D32}" dt="2022-11-03T23:30:44.337" v="463" actId="14100"/>
        <pc:sldMkLst>
          <pc:docMk/>
          <pc:sldMk cId="1568877770" sldId="275"/>
        </pc:sldMkLst>
        <pc:spChg chg="add del mod">
          <ac:chgData name="Roisin.Bennett" userId="be0de68c-0a12-4478-93a5-22c9acfc213a" providerId="ADAL" clId="{8749BF7E-13A7-4D7D-853E-806013949D32}" dt="2022-11-03T22:08:02.614" v="63" actId="478"/>
          <ac:spMkLst>
            <pc:docMk/>
            <pc:sldMk cId="1568877770" sldId="275"/>
            <ac:spMk id="4" creationId="{6F67FBEE-45AD-E447-53FD-44A163488BD7}"/>
          </ac:spMkLst>
        </pc:spChg>
        <pc:spChg chg="add del mod">
          <ac:chgData name="Roisin.Bennett" userId="be0de68c-0a12-4478-93a5-22c9acfc213a" providerId="ADAL" clId="{8749BF7E-13A7-4D7D-853E-806013949D32}" dt="2022-11-03T22:23:39.683" v="94" actId="478"/>
          <ac:spMkLst>
            <pc:docMk/>
            <pc:sldMk cId="1568877770" sldId="275"/>
            <ac:spMk id="4" creationId="{C1728ECA-A67B-72D6-FE7A-AFFEDCEF79AD}"/>
          </ac:spMkLst>
        </pc:spChg>
        <pc:spChg chg="mod">
          <ac:chgData name="Roisin.Bennett" userId="be0de68c-0a12-4478-93a5-22c9acfc213a" providerId="ADAL" clId="{8749BF7E-13A7-4D7D-853E-806013949D32}" dt="2022-11-03T22:22:44.156" v="91" actId="14100"/>
          <ac:spMkLst>
            <pc:docMk/>
            <pc:sldMk cId="1568877770" sldId="275"/>
            <ac:spMk id="5" creationId="{5E76052F-7919-6255-99C1-E04D8866C6E4}"/>
          </ac:spMkLst>
        </pc:spChg>
        <pc:spChg chg="mod">
          <ac:chgData name="Roisin.Bennett" userId="be0de68c-0a12-4478-93a5-22c9acfc213a" providerId="ADAL" clId="{8749BF7E-13A7-4D7D-853E-806013949D32}" dt="2022-11-03T23:30:44.337" v="463" actId="14100"/>
          <ac:spMkLst>
            <pc:docMk/>
            <pc:sldMk cId="1568877770" sldId="275"/>
            <ac:spMk id="15" creationId="{438AD923-1CEA-57FC-0E50-EEAF584DE2B8}"/>
          </ac:spMkLst>
        </pc:spChg>
        <pc:spChg chg="mod">
          <ac:chgData name="Roisin.Bennett" userId="be0de68c-0a12-4478-93a5-22c9acfc213a" providerId="ADAL" clId="{8749BF7E-13A7-4D7D-853E-806013949D32}" dt="2022-11-03T22:01:26.054" v="15" actId="14100"/>
          <ac:spMkLst>
            <pc:docMk/>
            <pc:sldMk cId="1568877770" sldId="275"/>
            <ac:spMk id="16" creationId="{8D131576-916B-7876-1B5E-9F9866FAEF62}"/>
          </ac:spMkLst>
        </pc:spChg>
        <pc:spChg chg="mod">
          <ac:chgData name="Roisin.Bennett" userId="be0de68c-0a12-4478-93a5-22c9acfc213a" providerId="ADAL" clId="{8749BF7E-13A7-4D7D-853E-806013949D32}" dt="2022-11-03T22:01:13.297" v="13" actId="1076"/>
          <ac:spMkLst>
            <pc:docMk/>
            <pc:sldMk cId="1568877770" sldId="275"/>
            <ac:spMk id="17" creationId="{6FA49FA2-87B4-28B1-1291-06FF4C03E998}"/>
          </ac:spMkLst>
        </pc:spChg>
        <pc:spChg chg="add mod">
          <ac:chgData name="Roisin.Bennett" userId="be0de68c-0a12-4478-93a5-22c9acfc213a" providerId="ADAL" clId="{8749BF7E-13A7-4D7D-853E-806013949D32}" dt="2022-11-03T22:27:43.786" v="160" actId="20577"/>
          <ac:spMkLst>
            <pc:docMk/>
            <pc:sldMk cId="1568877770" sldId="275"/>
            <ac:spMk id="34" creationId="{FAC58378-2767-68DE-117B-A16FE15E27FA}"/>
          </ac:spMkLst>
        </pc:spChg>
        <pc:spChg chg="add del mod">
          <ac:chgData name="Roisin.Bennett" userId="be0de68c-0a12-4478-93a5-22c9acfc213a" providerId="ADAL" clId="{8749BF7E-13A7-4D7D-853E-806013949D32}" dt="2022-11-03T22:13:13.592" v="73" actId="478"/>
          <ac:spMkLst>
            <pc:docMk/>
            <pc:sldMk cId="1568877770" sldId="275"/>
            <ac:spMk id="37" creationId="{27380C88-04AF-0943-B1E5-D2C2F9A9FF57}"/>
          </ac:spMkLst>
        </pc:spChg>
        <pc:spChg chg="add del mod">
          <ac:chgData name="Roisin.Bennett" userId="be0de68c-0a12-4478-93a5-22c9acfc213a" providerId="ADAL" clId="{8749BF7E-13A7-4D7D-853E-806013949D32}" dt="2022-11-03T22:16:02.834" v="79"/>
          <ac:spMkLst>
            <pc:docMk/>
            <pc:sldMk cId="1568877770" sldId="275"/>
            <ac:spMk id="38" creationId="{C40D1E1D-6AA6-08FF-9422-D1DE6865CE10}"/>
          </ac:spMkLst>
        </pc:spChg>
        <pc:picChg chg="add mod">
          <ac:chgData name="Roisin.Bennett" userId="be0de68c-0a12-4478-93a5-22c9acfc213a" providerId="ADAL" clId="{8749BF7E-13A7-4D7D-853E-806013949D32}" dt="2022-11-03T22:25:38.052" v="101" actId="962"/>
          <ac:picMkLst>
            <pc:docMk/>
            <pc:sldMk cId="1568877770" sldId="275"/>
            <ac:picMk id="13" creationId="{C741C3C7-B111-52E2-BE09-E4DA475C0564}"/>
          </ac:picMkLst>
        </pc:picChg>
        <pc:picChg chg="add mod">
          <ac:chgData name="Roisin.Bennett" userId="be0de68c-0a12-4478-93a5-22c9acfc213a" providerId="ADAL" clId="{8749BF7E-13A7-4D7D-853E-806013949D32}" dt="2022-11-03T22:29:26.913" v="166" actId="14100"/>
          <ac:picMkLst>
            <pc:docMk/>
            <pc:sldMk cId="1568877770" sldId="275"/>
            <ac:picMk id="35" creationId="{A379DA3A-C919-7318-9943-92E2776E2919}"/>
          </ac:picMkLst>
        </pc:picChg>
        <pc:cxnChg chg="mod">
          <ac:chgData name="Roisin.Bennett" userId="be0de68c-0a12-4478-93a5-22c9acfc213a" providerId="ADAL" clId="{8749BF7E-13A7-4D7D-853E-806013949D32}" dt="2022-11-03T23:30:44.337" v="463" actId="14100"/>
          <ac:cxnSpMkLst>
            <pc:docMk/>
            <pc:sldMk cId="1568877770" sldId="275"/>
            <ac:cxnSpMk id="24" creationId="{8D8B40DE-1717-E4DB-81ED-A379054B8D68}"/>
          </ac:cxnSpMkLst>
        </pc:cxnChg>
        <pc:cxnChg chg="mod">
          <ac:chgData name="Roisin.Bennett" userId="be0de68c-0a12-4478-93a5-22c9acfc213a" providerId="ADAL" clId="{8749BF7E-13A7-4D7D-853E-806013949D32}" dt="2022-11-03T22:01:30.801" v="16" actId="1076"/>
          <ac:cxnSpMkLst>
            <pc:docMk/>
            <pc:sldMk cId="1568877770" sldId="275"/>
            <ac:cxnSpMk id="25" creationId="{62DCF8AD-CB14-9A8B-BD44-21455A33C230}"/>
          </ac:cxnSpMkLst>
        </pc:cxnChg>
      </pc:sldChg>
      <pc:sldChg chg="modSp mod">
        <pc:chgData name="Roisin.Bennett" userId="be0de68c-0a12-4478-93a5-22c9acfc213a" providerId="ADAL" clId="{8749BF7E-13A7-4D7D-853E-806013949D32}" dt="2022-11-03T21:59:02.588" v="8" actId="1076"/>
        <pc:sldMkLst>
          <pc:docMk/>
          <pc:sldMk cId="2493144842" sldId="292"/>
        </pc:sldMkLst>
        <pc:spChg chg="mod">
          <ac:chgData name="Roisin.Bennett" userId="be0de68c-0a12-4478-93a5-22c9acfc213a" providerId="ADAL" clId="{8749BF7E-13A7-4D7D-853E-806013949D32}" dt="2022-11-03T21:59:02.588" v="8" actId="1076"/>
          <ac:spMkLst>
            <pc:docMk/>
            <pc:sldMk cId="2493144842" sldId="292"/>
            <ac:spMk id="13" creationId="{263DB7FC-8DCF-811B-B339-EECFD31BB08A}"/>
          </ac:spMkLst>
        </pc:spChg>
        <pc:spChg chg="mod">
          <ac:chgData name="Roisin.Bennett" userId="be0de68c-0a12-4478-93a5-22c9acfc213a" providerId="ADAL" clId="{8749BF7E-13A7-4D7D-853E-806013949D32}" dt="2022-11-03T21:57:32.953" v="4" actId="207"/>
          <ac:spMkLst>
            <pc:docMk/>
            <pc:sldMk cId="2493144842" sldId="292"/>
            <ac:spMk id="40" creationId="{5A62D70A-21B0-7C0A-0334-403408D81045}"/>
          </ac:spMkLst>
        </pc:spChg>
        <pc:grpChg chg="mod">
          <ac:chgData name="Roisin.Bennett" userId="be0de68c-0a12-4478-93a5-22c9acfc213a" providerId="ADAL" clId="{8749BF7E-13A7-4D7D-853E-806013949D32}" dt="2022-11-03T21:58:02.495" v="7" actId="14100"/>
          <ac:grpSpMkLst>
            <pc:docMk/>
            <pc:sldMk cId="2493144842" sldId="292"/>
            <ac:grpSpMk id="39" creationId="{71F33A3F-06DC-15B3-2EF1-424CA8D1DF7E}"/>
          </ac:grpSpMkLst>
        </pc:grpChg>
        <pc:picChg chg="mod">
          <ac:chgData name="Roisin.Bennett" userId="be0de68c-0a12-4478-93a5-22c9acfc213a" providerId="ADAL" clId="{8749BF7E-13A7-4D7D-853E-806013949D32}" dt="2022-11-03T21:57:40.225" v="5" actId="207"/>
          <ac:picMkLst>
            <pc:docMk/>
            <pc:sldMk cId="2493144842" sldId="292"/>
            <ac:picMk id="14" creationId="{BD5C2929-96ED-6705-4589-DB93F80100FC}"/>
          </ac:picMkLst>
        </pc:picChg>
      </pc:sldChg>
      <pc:sldChg chg="modSp mod modAnim">
        <pc:chgData name="Roisin.Bennett" userId="be0de68c-0a12-4478-93a5-22c9acfc213a" providerId="ADAL" clId="{8749BF7E-13A7-4D7D-853E-806013949D32}" dt="2022-11-03T23:40:49.870" v="484"/>
        <pc:sldMkLst>
          <pc:docMk/>
          <pc:sldMk cId="377520588" sldId="373"/>
        </pc:sldMkLst>
        <pc:spChg chg="mod">
          <ac:chgData name="Roisin.Bennett" userId="be0de68c-0a12-4478-93a5-22c9acfc213a" providerId="ADAL" clId="{8749BF7E-13A7-4D7D-853E-806013949D32}" dt="2022-11-03T23:30:54.416" v="464" actId="14100"/>
          <ac:spMkLst>
            <pc:docMk/>
            <pc:sldMk cId="377520588" sldId="373"/>
            <ac:spMk id="2" creationId="{3EAB76F5-F239-D8B1-B78F-96B3EAE5A4D7}"/>
          </ac:spMkLst>
        </pc:spChg>
        <pc:spChg chg="mod">
          <ac:chgData name="Roisin.Bennett" userId="be0de68c-0a12-4478-93a5-22c9acfc213a" providerId="ADAL" clId="{8749BF7E-13A7-4D7D-853E-806013949D32}" dt="2022-11-03T23:32:16.255" v="471" actId="1076"/>
          <ac:spMkLst>
            <pc:docMk/>
            <pc:sldMk cId="377520588" sldId="373"/>
            <ac:spMk id="11" creationId="{41C244C0-2918-05B8-6D9C-986053E6C889}"/>
          </ac:spMkLst>
        </pc:spChg>
        <pc:spChg chg="mod">
          <ac:chgData name="Roisin.Bennett" userId="be0de68c-0a12-4478-93a5-22c9acfc213a" providerId="ADAL" clId="{8749BF7E-13A7-4D7D-853E-806013949D32}" dt="2022-11-03T22:43:40.568" v="187" actId="14100"/>
          <ac:spMkLst>
            <pc:docMk/>
            <pc:sldMk cId="377520588" sldId="373"/>
            <ac:spMk id="30" creationId="{7A019F2D-0A26-58A3-50B4-2C8DC95C74EA}"/>
          </ac:spMkLst>
        </pc:spChg>
        <pc:spChg chg="mod">
          <ac:chgData name="Roisin.Bennett" userId="be0de68c-0a12-4478-93a5-22c9acfc213a" providerId="ADAL" clId="{8749BF7E-13A7-4D7D-853E-806013949D32}" dt="2022-11-03T22:19:07.034" v="89" actId="1076"/>
          <ac:spMkLst>
            <pc:docMk/>
            <pc:sldMk cId="377520588" sldId="373"/>
            <ac:spMk id="36" creationId="{670344C2-AED3-3EB4-E50C-C52C8C3154DF}"/>
          </ac:spMkLst>
        </pc:spChg>
        <pc:spChg chg="mod">
          <ac:chgData name="Roisin.Bennett" userId="be0de68c-0a12-4478-93a5-22c9acfc213a" providerId="ADAL" clId="{8749BF7E-13A7-4D7D-853E-806013949D32}" dt="2022-11-03T22:18:48.020" v="87" actId="14100"/>
          <ac:spMkLst>
            <pc:docMk/>
            <pc:sldMk cId="377520588" sldId="373"/>
            <ac:spMk id="37" creationId="{C24BC461-7204-7C8D-DCA3-B6387547A80A}"/>
          </ac:spMkLst>
        </pc:spChg>
        <pc:spChg chg="mod">
          <ac:chgData name="Roisin.Bennett" userId="be0de68c-0a12-4478-93a5-22c9acfc213a" providerId="ADAL" clId="{8749BF7E-13A7-4D7D-853E-806013949D32}" dt="2022-11-03T23:31:53.706" v="470" actId="1076"/>
          <ac:spMkLst>
            <pc:docMk/>
            <pc:sldMk cId="377520588" sldId="373"/>
            <ac:spMk id="49" creationId="{78243167-BE91-F216-9C00-CBD3E1C38646}"/>
          </ac:spMkLst>
        </pc:spChg>
        <pc:picChg chg="mod">
          <ac:chgData name="Roisin.Bennett" userId="be0de68c-0a12-4478-93a5-22c9acfc213a" providerId="ADAL" clId="{8749BF7E-13A7-4D7D-853E-806013949D32}" dt="2022-11-03T22:17:56.222" v="80" actId="1076"/>
          <ac:picMkLst>
            <pc:docMk/>
            <pc:sldMk cId="377520588" sldId="373"/>
            <ac:picMk id="99" creationId="{D87B73B1-7092-8FC7-5ECC-F2ABF1B79375}"/>
          </ac:picMkLst>
        </pc:picChg>
        <pc:picChg chg="mod">
          <ac:chgData name="Roisin.Bennett" userId="be0de68c-0a12-4478-93a5-22c9acfc213a" providerId="ADAL" clId="{8749BF7E-13A7-4D7D-853E-806013949D32}" dt="2022-11-03T23:31:43.030" v="469" actId="1076"/>
          <ac:picMkLst>
            <pc:docMk/>
            <pc:sldMk cId="377520588" sldId="373"/>
            <ac:picMk id="103" creationId="{340E49DE-F471-22F2-D82A-6F0838AE2E68}"/>
          </ac:picMkLst>
        </pc:picChg>
        <pc:cxnChg chg="mod">
          <ac:chgData name="Roisin.Bennett" userId="be0de68c-0a12-4478-93a5-22c9acfc213a" providerId="ADAL" clId="{8749BF7E-13A7-4D7D-853E-806013949D32}" dt="2022-11-03T22:43:40.568" v="187" actId="14100"/>
          <ac:cxnSpMkLst>
            <pc:docMk/>
            <pc:sldMk cId="377520588" sldId="373"/>
            <ac:cxnSpMk id="60" creationId="{87FE0266-0851-0852-8F50-6EDCDDCB0B1A}"/>
          </ac:cxnSpMkLst>
        </pc:cxnChg>
        <pc:cxnChg chg="mod">
          <ac:chgData name="Roisin.Bennett" userId="be0de68c-0a12-4478-93a5-22c9acfc213a" providerId="ADAL" clId="{8749BF7E-13A7-4D7D-853E-806013949D32}" dt="2022-11-03T23:31:53.706" v="470" actId="1076"/>
          <ac:cxnSpMkLst>
            <pc:docMk/>
            <pc:sldMk cId="377520588" sldId="373"/>
            <ac:cxnSpMk id="67" creationId="{B2570E39-6B16-AB97-4701-C7A271906FDA}"/>
          </ac:cxnSpMkLst>
        </pc:cxnChg>
        <pc:cxnChg chg="mod">
          <ac:chgData name="Roisin.Bennett" userId="be0de68c-0a12-4478-93a5-22c9acfc213a" providerId="ADAL" clId="{8749BF7E-13A7-4D7D-853E-806013949D32}" dt="2022-11-03T22:18:48.020" v="87" actId="14100"/>
          <ac:cxnSpMkLst>
            <pc:docMk/>
            <pc:sldMk cId="377520588" sldId="373"/>
            <ac:cxnSpMk id="68" creationId="{9EA7639C-0E4C-60DF-0B7E-8F937E288B64}"/>
          </ac:cxnSpMkLst>
        </pc:cxnChg>
      </pc:sldChg>
      <pc:sldChg chg="new del">
        <pc:chgData name="Roisin.Bennett" userId="be0de68c-0a12-4478-93a5-22c9acfc213a" providerId="ADAL" clId="{8749BF7E-13A7-4D7D-853E-806013949D32}" dt="2022-11-03T15:33:02.410" v="1" actId="47"/>
        <pc:sldMkLst>
          <pc:docMk/>
          <pc:sldMk cId="3122064139" sldId="37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trally Procured</c:v>
                </c:pt>
              </c:strCache>
            </c:strRef>
          </c:tx>
          <c:spPr>
            <a:solidFill>
              <a:srgbClr val="43ADD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EF7BF25-6398-4A03-B3AB-2BF741E7D0DC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3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7D2-49B2-BD56-16A4C8E48F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A105598-ADE3-4605-A7A8-9485EC570B79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3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7D2-49B2-BD56-16A4C8E48F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DCDCFFB-75A8-4E69-815F-E5FA3112EB8F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4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57D2-49B2-BD56-16A4C8E48F1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7983A97-8A14-4677-90E3-FBE2F5A1DB99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57D2-49B2-BD56-16A4C8E48F1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E6BD5CC-BB01-48C6-A13C-587C405343B4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57D2-49B2-BD56-16A4C8E48F1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287303F-6100-414A-99DB-4DA6AD7D0558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4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57D2-49B2-BD56-16A4C8E48F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18 
HEI only Total €311m</c:v>
                </c:pt>
                <c:pt idx="1">
                  <c:v>2019 
Total €569m</c:v>
                </c:pt>
                <c:pt idx="2">
                  <c:v>2020 
Total €565m</c:v>
                </c:pt>
                <c:pt idx="3">
                  <c:v>2021 
Total €623m</c:v>
                </c:pt>
                <c:pt idx="4">
                  <c:v>2022 (FC)
Total €620m</c:v>
                </c:pt>
                <c:pt idx="5">
                  <c:v>2023 (FC) 
Total €601m</c:v>
                </c:pt>
              </c:strCache>
            </c:strRef>
          </c:cat>
          <c:val>
            <c:numRef>
              <c:f>Sheet1!$B$2:$B$7</c:f>
              <c:numCache>
                <c:formatCode>[$€-2]\ #,##0;[Red]\-[$€-2]\ #,##0</c:formatCode>
                <c:ptCount val="6"/>
                <c:pt idx="0">
                  <c:v>120</c:v>
                </c:pt>
                <c:pt idx="1">
                  <c:v>184</c:v>
                </c:pt>
                <c:pt idx="2">
                  <c:v>235</c:v>
                </c:pt>
                <c:pt idx="3">
                  <c:v>248</c:v>
                </c:pt>
                <c:pt idx="4">
                  <c:v>247</c:v>
                </c:pt>
                <c:pt idx="5">
                  <c:v>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D2-49B2-BD56-16A4C8E48F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 Centrally Procured</c:v>
                </c:pt>
              </c:strCache>
            </c:strRef>
          </c:tx>
          <c:spPr>
            <a:solidFill>
              <a:srgbClr val="9D2F9D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EC6F33E-2BDB-4583-A2DB-54DD757BCE19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6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7D2-49B2-BD56-16A4C8E48F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9118F29-B674-429A-BE9F-5337CD78C35E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6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7D2-49B2-BD56-16A4C8E48F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58197E2-BEFB-43E7-B8A1-2D15D40DF6C2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5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7D2-49B2-BD56-16A4C8E48F1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F66C4E1-F561-4F92-9A66-D9559A2F5E7F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6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7D2-49B2-BD56-16A4C8E48F1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6FAE4C7-F9AF-44C0-96A8-01D9769B4D72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6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7D2-49B2-BD56-16A4C8E48F1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F35A93A-AD01-4D30-9E5C-9F5B8E22DD9D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  <a:br>
                      <a:rPr lang="en-US"/>
                    </a:br>
                    <a:r>
                      <a:rPr lang="en-US"/>
                      <a:t>5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57D2-49B2-BD56-16A4C8E48F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18 
HEI only Total €311m</c:v>
                </c:pt>
                <c:pt idx="1">
                  <c:v>2019 
Total €569m</c:v>
                </c:pt>
                <c:pt idx="2">
                  <c:v>2020 
Total €565m</c:v>
                </c:pt>
                <c:pt idx="3">
                  <c:v>2021 
Total €623m</c:v>
                </c:pt>
                <c:pt idx="4">
                  <c:v>2022 (FC)
Total €620m</c:v>
                </c:pt>
                <c:pt idx="5">
                  <c:v>2023 (FC) 
Total €601m</c:v>
                </c:pt>
              </c:strCache>
            </c:strRef>
          </c:cat>
          <c:val>
            <c:numRef>
              <c:f>Sheet1!$C$2:$C$7</c:f>
              <c:numCache>
                <c:formatCode>[$€-2]\ #,##0;[Red]\-[$€-2]\ #,##0</c:formatCode>
                <c:ptCount val="6"/>
                <c:pt idx="0">
                  <c:v>191</c:v>
                </c:pt>
                <c:pt idx="1">
                  <c:v>385</c:v>
                </c:pt>
                <c:pt idx="2">
                  <c:v>330</c:v>
                </c:pt>
                <c:pt idx="3">
                  <c:v>376</c:v>
                </c:pt>
                <c:pt idx="4">
                  <c:v>373</c:v>
                </c:pt>
                <c:pt idx="5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D2-49B2-BD56-16A4C8E48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overlap val="100"/>
        <c:axId val="850765832"/>
        <c:axId val="850763864"/>
      </c:barChart>
      <c:catAx>
        <c:axId val="85076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0763864"/>
        <c:crosses val="autoZero"/>
        <c:auto val="1"/>
        <c:lblAlgn val="ctr"/>
        <c:lblOffset val="100"/>
        <c:noMultiLvlLbl val="0"/>
      </c:catAx>
      <c:valAx>
        <c:axId val="850763864"/>
        <c:scaling>
          <c:orientation val="minMax"/>
        </c:scaling>
        <c:delete val="1"/>
        <c:axPos val="l"/>
        <c:numFmt formatCode="[$€-2]\ #,##0;[Red]\-[$€-2]\ #,##0" sourceLinked="1"/>
        <c:majorTickMark val="none"/>
        <c:minorTickMark val="none"/>
        <c:tickLblPos val="nextTo"/>
        <c:crossAx val="850765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444</cdr:x>
      <cdr:y>0.5</cdr:y>
    </cdr:from>
    <cdr:to>
      <cdr:x>0.9158</cdr:x>
      <cdr:y>0.57336</cdr:y>
    </cdr:to>
    <cdr:cxnSp macro="">
      <cdr:nvCxnSpPr>
        <cdr:cNvPr id="2" name="Straight Arrow Connector 1">
          <a:extLst xmlns:a="http://schemas.openxmlformats.org/drawingml/2006/main">
            <a:ext uri="{FF2B5EF4-FFF2-40B4-BE49-F238E27FC236}">
              <a16:creationId xmlns:a16="http://schemas.microsoft.com/office/drawing/2014/main" id="{0C6F2ACA-A858-4194-2DFB-C82CF35053C9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V="1">
          <a:off x="2056234" y="2049991"/>
          <a:ext cx="8153400" cy="300763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rgbClr val="FB900E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0AEDCA-0D89-CB2E-73B4-B500AAC5B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D7C451-1B8B-94B7-A068-A5BD3CAEAF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5F05E-D3DD-4DD2-94AF-0BAF2DA5287F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321997-B1B0-27D8-D283-B0B8AFF24C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A0EF1B-CC9C-569D-B264-3A40B95BC37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2A6F6-6D5C-4268-BFA0-0C8D9097D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7951862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B6141C-D1A0-40D5-9528-4B3DBBCDCC1D}" type="datetimeFigureOut">
              <a:rPr lang="en-US" smtClean="0"/>
              <a:t>11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B73F62-97C4-4E03-B11E-E01CDCB60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722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dirty="0"/>
              <a:t>The </a:t>
            </a:r>
            <a:r>
              <a:rPr lang="en-IE" dirty="0" err="1"/>
              <a:t>InfoStructure</a:t>
            </a:r>
            <a:r>
              <a:rPr lang="en-IE" dirty="0"/>
              <a:t> and Supply Chain – creating an ecosystem of engagement between sourcing, users, stakeholders etc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B73F62-97C4-4E03-B11E-E01CDCB60AB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670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1">
            <a:extLst>
              <a:ext uri="{FF2B5EF4-FFF2-40B4-BE49-F238E27FC236}">
                <a16:creationId xmlns:a16="http://schemas.microsoft.com/office/drawing/2014/main" id="{B397D19C-EFB3-0587-47CD-101A037514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8" cy="4914900"/>
          </a:xfrm>
          <a:custGeom>
            <a:avLst/>
            <a:gdLst>
              <a:gd name="connsiteX0" fmla="*/ 0 w 12191998"/>
              <a:gd name="connsiteY0" fmla="*/ 0 h 5094514"/>
              <a:gd name="connsiteX1" fmla="*/ 12191998 w 12191998"/>
              <a:gd name="connsiteY1" fmla="*/ 0 h 5094514"/>
              <a:gd name="connsiteX2" fmla="*/ 12191998 w 12191998"/>
              <a:gd name="connsiteY2" fmla="*/ 5094514 h 5094514"/>
              <a:gd name="connsiteX3" fmla="*/ 0 w 12191998"/>
              <a:gd name="connsiteY3" fmla="*/ 5094514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5094514">
                <a:moveTo>
                  <a:pt x="0" y="0"/>
                </a:moveTo>
                <a:lnTo>
                  <a:pt x="12191998" y="0"/>
                </a:lnTo>
                <a:lnTo>
                  <a:pt x="12191998" y="5094514"/>
                </a:lnTo>
                <a:lnTo>
                  <a:pt x="0" y="5094514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1161C1-1D4A-567C-46AD-4086DF0D5C76}"/>
              </a:ext>
            </a:extLst>
          </p:cNvPr>
          <p:cNvSpPr/>
          <p:nvPr userDrawn="1"/>
        </p:nvSpPr>
        <p:spPr>
          <a:xfrm>
            <a:off x="0" y="4914900"/>
            <a:ext cx="12191998" cy="1943100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53B9942-002A-22D1-91CB-1531EE2D59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426" y="5508512"/>
            <a:ext cx="8213273" cy="559127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D6EA88-E10E-8190-0B96-9596C14F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425" y="6175142"/>
            <a:ext cx="8213273" cy="251607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E12C98-1798-A5F7-FE16-ACE7C6403DE8}"/>
              </a:ext>
            </a:extLst>
          </p:cNvPr>
          <p:cNvSpPr/>
          <p:nvPr userDrawn="1"/>
        </p:nvSpPr>
        <p:spPr>
          <a:xfrm>
            <a:off x="-2094271" y="252427"/>
            <a:ext cx="808396" cy="671498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8AAB1-D293-2384-8099-421EE7B5C9F7}"/>
              </a:ext>
            </a:extLst>
          </p:cNvPr>
          <p:cNvSpPr/>
          <p:nvPr userDrawn="1"/>
        </p:nvSpPr>
        <p:spPr>
          <a:xfrm>
            <a:off x="-2094271" y="1131562"/>
            <a:ext cx="808396" cy="671498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D4E3F4-B2DE-24CB-8297-4F29F7A9FE83}"/>
              </a:ext>
            </a:extLst>
          </p:cNvPr>
          <p:cNvSpPr/>
          <p:nvPr userDrawn="1"/>
        </p:nvSpPr>
        <p:spPr>
          <a:xfrm>
            <a:off x="-2120542" y="2010236"/>
            <a:ext cx="808396" cy="67149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6431F9-CC47-0BC1-16CF-2A63E92E839D}"/>
              </a:ext>
            </a:extLst>
          </p:cNvPr>
          <p:cNvSpPr/>
          <p:nvPr userDrawn="1"/>
        </p:nvSpPr>
        <p:spPr>
          <a:xfrm>
            <a:off x="8845550" y="4914900"/>
            <a:ext cx="3346450" cy="1943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16AA2064-BB73-DF06-7698-FA7613AA36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5983" y="5360949"/>
            <a:ext cx="2845584" cy="105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448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40EEC-05E6-5C09-9573-3FE64C376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454140-F528-D747-47FC-7073AF16F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DB401C-30F1-4099-3FAE-3B187F1AA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3F5F5E-5995-87BD-F407-3E510DE83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2899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7CB7D-5FDC-704D-CDF7-082306BDF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5885B5-C358-B0D6-C5A1-EF002E241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A832C1-A799-6ED8-4F55-AF438F3F6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83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A62D9-6414-C0CA-C91F-C7C82E65C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CF062-F6C4-CFFF-F616-30E935583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E2A763-7566-1546-9152-4D93693293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0E4AA4-DF1B-006B-CA82-73F19B6D5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CB5B6F-F49F-8BE2-2965-25CFB52CD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4674D3-2850-51B8-F6D9-A77F2F7CB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4333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17BB6-B836-1DAD-0025-99E2D67BE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5F7CFD-7BBD-FC32-9B78-D50BDC7127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92FA4-9370-C753-593A-C76B2DF962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A334D-F530-636A-1777-FBD8CD078C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B5780E-5E42-819A-473C-D99854855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8ACA4-588A-6109-6DD2-635749CAD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8767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136FA-CC82-2E6B-D9B2-16426FE95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E5AC02-8066-6038-5C73-D74FB32333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786D2D-8D96-B94F-FB79-92EF20A73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9EA95D-4CAF-8553-715F-23F4A0F40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F32A46-3EDC-BFB9-2C2D-0EED0B189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3814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9A3F4F-3DAB-66BA-C938-065CF0FBF2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989CC5-71A9-F8B9-D980-B39B2E64D2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5BBBFD-3E16-FA99-CB9A-6C2116B2D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6ED27E-3E0B-517F-3769-AF0487E35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7F5EC9-32FA-61A4-DFAE-190D8AF63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106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1">
            <a:extLst>
              <a:ext uri="{FF2B5EF4-FFF2-40B4-BE49-F238E27FC236}">
                <a16:creationId xmlns:a16="http://schemas.microsoft.com/office/drawing/2014/main" id="{B397D19C-EFB3-0587-47CD-101A037514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8" cy="4914900"/>
          </a:xfrm>
          <a:custGeom>
            <a:avLst/>
            <a:gdLst>
              <a:gd name="connsiteX0" fmla="*/ 0 w 12191998"/>
              <a:gd name="connsiteY0" fmla="*/ 0 h 5094514"/>
              <a:gd name="connsiteX1" fmla="*/ 12191998 w 12191998"/>
              <a:gd name="connsiteY1" fmla="*/ 0 h 5094514"/>
              <a:gd name="connsiteX2" fmla="*/ 12191998 w 12191998"/>
              <a:gd name="connsiteY2" fmla="*/ 5094514 h 5094514"/>
              <a:gd name="connsiteX3" fmla="*/ 0 w 12191998"/>
              <a:gd name="connsiteY3" fmla="*/ 5094514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5094514">
                <a:moveTo>
                  <a:pt x="0" y="0"/>
                </a:moveTo>
                <a:lnTo>
                  <a:pt x="12191998" y="0"/>
                </a:lnTo>
                <a:lnTo>
                  <a:pt x="12191998" y="5094514"/>
                </a:lnTo>
                <a:lnTo>
                  <a:pt x="0" y="5094514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1161C1-1D4A-567C-46AD-4086DF0D5C76}"/>
              </a:ext>
            </a:extLst>
          </p:cNvPr>
          <p:cNvSpPr/>
          <p:nvPr userDrawn="1"/>
        </p:nvSpPr>
        <p:spPr>
          <a:xfrm>
            <a:off x="0" y="4914900"/>
            <a:ext cx="12191998" cy="1943100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53B9942-002A-22D1-91CB-1531EE2D59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426" y="5508512"/>
            <a:ext cx="8213273" cy="559127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D6EA88-E10E-8190-0B96-9596C14F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425" y="6175142"/>
            <a:ext cx="8213273" cy="251607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E12C98-1798-A5F7-FE16-ACE7C6403DE8}"/>
              </a:ext>
            </a:extLst>
          </p:cNvPr>
          <p:cNvSpPr/>
          <p:nvPr userDrawn="1"/>
        </p:nvSpPr>
        <p:spPr>
          <a:xfrm>
            <a:off x="-2094271" y="252427"/>
            <a:ext cx="808396" cy="671498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8AAB1-D293-2384-8099-421EE7B5C9F7}"/>
              </a:ext>
            </a:extLst>
          </p:cNvPr>
          <p:cNvSpPr/>
          <p:nvPr userDrawn="1"/>
        </p:nvSpPr>
        <p:spPr>
          <a:xfrm>
            <a:off x="-2094271" y="1131562"/>
            <a:ext cx="808396" cy="671498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D4E3F4-B2DE-24CB-8297-4F29F7A9FE83}"/>
              </a:ext>
            </a:extLst>
          </p:cNvPr>
          <p:cNvSpPr/>
          <p:nvPr userDrawn="1"/>
        </p:nvSpPr>
        <p:spPr>
          <a:xfrm>
            <a:off x="-2120542" y="2010236"/>
            <a:ext cx="808396" cy="67149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6431F9-CC47-0BC1-16CF-2A63E92E839D}"/>
              </a:ext>
            </a:extLst>
          </p:cNvPr>
          <p:cNvSpPr/>
          <p:nvPr userDrawn="1"/>
        </p:nvSpPr>
        <p:spPr>
          <a:xfrm>
            <a:off x="8845550" y="4914900"/>
            <a:ext cx="3346450" cy="1943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16AA2064-BB73-DF06-7698-FA7613AA36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5983" y="5360949"/>
            <a:ext cx="2845584" cy="105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447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53B9942-002A-22D1-91CB-1531EE2D59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426" y="5508512"/>
            <a:ext cx="8213273" cy="559127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D6EA88-E10E-8190-0B96-9596C14F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425" y="6175142"/>
            <a:ext cx="8213273" cy="251607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E12C98-1798-A5F7-FE16-ACE7C6403DE8}"/>
              </a:ext>
            </a:extLst>
          </p:cNvPr>
          <p:cNvSpPr/>
          <p:nvPr userDrawn="1"/>
        </p:nvSpPr>
        <p:spPr>
          <a:xfrm>
            <a:off x="-2094271" y="252427"/>
            <a:ext cx="808396" cy="671498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8AAB1-D293-2384-8099-421EE7B5C9F7}"/>
              </a:ext>
            </a:extLst>
          </p:cNvPr>
          <p:cNvSpPr/>
          <p:nvPr userDrawn="1"/>
        </p:nvSpPr>
        <p:spPr>
          <a:xfrm>
            <a:off x="-2094271" y="1131562"/>
            <a:ext cx="808396" cy="671498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D4E3F4-B2DE-24CB-8297-4F29F7A9FE83}"/>
              </a:ext>
            </a:extLst>
          </p:cNvPr>
          <p:cNvSpPr/>
          <p:nvPr userDrawn="1"/>
        </p:nvSpPr>
        <p:spPr>
          <a:xfrm>
            <a:off x="-2120542" y="2010236"/>
            <a:ext cx="808396" cy="67149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6431F9-CC47-0BC1-16CF-2A63E92E839D}"/>
              </a:ext>
            </a:extLst>
          </p:cNvPr>
          <p:cNvSpPr/>
          <p:nvPr userDrawn="1"/>
        </p:nvSpPr>
        <p:spPr>
          <a:xfrm>
            <a:off x="8845550" y="4914900"/>
            <a:ext cx="3346450" cy="1943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445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5FB4A42A-932A-A98C-50DD-289FBFF3403C}"/>
              </a:ext>
            </a:extLst>
          </p:cNvPr>
          <p:cNvSpPr/>
          <p:nvPr userDrawn="1"/>
        </p:nvSpPr>
        <p:spPr>
          <a:xfrm>
            <a:off x="11648809" y="6440259"/>
            <a:ext cx="347016" cy="34701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2D136E-45A3-6F34-CB3F-B568AC812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683" y="283555"/>
            <a:ext cx="9717746" cy="492443"/>
          </a:xfr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221F72-FF38-1172-237D-84665C97BFD1}"/>
              </a:ext>
            </a:extLst>
          </p:cNvPr>
          <p:cNvSpPr/>
          <p:nvPr userDrawn="1"/>
        </p:nvSpPr>
        <p:spPr>
          <a:xfrm>
            <a:off x="0" y="366609"/>
            <a:ext cx="283369" cy="297760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1D0D6B6-B620-BC1C-FCCB-F95E748A5ADC}"/>
              </a:ext>
            </a:extLst>
          </p:cNvPr>
          <p:cNvSpPr txBox="1">
            <a:spLocks/>
          </p:cNvSpPr>
          <p:nvPr userDrawn="1"/>
        </p:nvSpPr>
        <p:spPr>
          <a:xfrm>
            <a:off x="11750182" y="6552212"/>
            <a:ext cx="14427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‹#›</a:t>
            </a:fld>
            <a:endParaRPr lang="en-US" sz="800" dirty="0"/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A44CB0D2-49CF-E5AC-4133-209F5EE4D0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943" y="231367"/>
            <a:ext cx="1538514" cy="56824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7525F1-88EB-9FA4-B257-7A4B3AF69691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6613767"/>
            <a:ext cx="1164880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FD313F-B6BF-B79B-7F98-479035D6D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888" y="981075"/>
            <a:ext cx="11487150" cy="5397500"/>
          </a:xfrm>
        </p:spPr>
        <p:txBody>
          <a:bodyPr/>
          <a:lstStyle>
            <a:lvl2pPr marL="450850" indent="-184150">
              <a:tabLst>
                <a:tab pos="450850" algn="l"/>
              </a:tabLst>
              <a:defRPr/>
            </a:lvl2pPr>
            <a:lvl3pPr marL="628650" indent="-177800">
              <a:defRPr/>
            </a:lvl3pPr>
            <a:lvl4pPr marL="806450" indent="-177800">
              <a:defRPr/>
            </a:lvl4pPr>
            <a:lvl5pPr marL="984250" indent="-1778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3099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1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2DF333-049F-7D0E-9421-A5E8BC83D2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885192"/>
            <a:ext cx="12192000" cy="3972808"/>
          </a:xfrm>
        </p:spPr>
        <p:txBody>
          <a:bodyPr>
            <a:noAutofit/>
          </a:bodyPr>
          <a:lstStyle/>
          <a:p>
            <a:endParaRPr lang="en-IN"/>
          </a:p>
        </p:txBody>
      </p: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E6C0E608-D392-D91C-025E-31F0F23C35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85" y="650411"/>
            <a:ext cx="2655688" cy="980865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9F016E0-7151-CA3E-5869-D9D3F299C0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60912" y="721498"/>
            <a:ext cx="6937375" cy="838691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60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Section Divid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8076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79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4A4E00C-D2B2-D69D-1922-A31BAEB1196B}"/>
              </a:ext>
            </a:extLst>
          </p:cNvPr>
          <p:cNvSpPr/>
          <p:nvPr userDrawn="1"/>
        </p:nvSpPr>
        <p:spPr>
          <a:xfrm>
            <a:off x="457201" y="326572"/>
            <a:ext cx="6204856" cy="6204856"/>
          </a:xfrm>
          <a:prstGeom prst="ellipse">
            <a:avLst/>
          </a:prstGeom>
          <a:solidFill>
            <a:srgbClr val="0099FF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1F780D4-5DCA-2BD6-BBEE-4C858E72E423}"/>
              </a:ext>
            </a:extLst>
          </p:cNvPr>
          <p:cNvSpPr/>
          <p:nvPr userDrawn="1"/>
        </p:nvSpPr>
        <p:spPr>
          <a:xfrm>
            <a:off x="805278" y="674649"/>
            <a:ext cx="5508702" cy="5508702"/>
          </a:xfrm>
          <a:prstGeom prst="ellipse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A57A8B76-348F-538A-F368-72854CC72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5512" y="674649"/>
            <a:ext cx="2845584" cy="1051002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91CBB80-A2FD-3A5D-C72D-1156C8E6EC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75512" y="2914650"/>
            <a:ext cx="4111210" cy="2577116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88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Thank</a:t>
            </a:r>
          </a:p>
          <a:p>
            <a:pPr lvl="0"/>
            <a:r>
              <a:rPr lang="en-US" dirty="0"/>
              <a:t>You</a:t>
            </a:r>
            <a:endParaRPr lang="en-IN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EBE4142-8433-B090-748D-FC9DA542DF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2304" y="851675"/>
            <a:ext cx="5154651" cy="5154651"/>
          </a:xfrm>
          <a:prstGeom prst="flowChartConnector">
            <a:avLst/>
          </a:prstGeom>
          <a:solidFill>
            <a:schemeClr val="bg1"/>
          </a:solidFill>
        </p:spPr>
        <p:txBody>
          <a:bodyPr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68348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625D6D-7C8F-284E-40B0-6220E68F8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95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625D6D-7C8F-284E-40B0-6220E68F8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Diagram, engineering drawing&#10;&#10;Description automatically generated">
            <a:extLst>
              <a:ext uri="{FF2B5EF4-FFF2-40B4-BE49-F238E27FC236}">
                <a16:creationId xmlns:a16="http://schemas.microsoft.com/office/drawing/2014/main" id="{B3416644-406D-DEBF-6DE2-A819492D27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663" b="366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A57A8B76-348F-538A-F368-72854CC727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12" y="674649"/>
            <a:ext cx="2845584" cy="1051002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91CBB80-A2FD-3A5D-C72D-1156C8E6EC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2112" y="2914650"/>
            <a:ext cx="4111210" cy="2577116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88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Thank</a:t>
            </a:r>
          </a:p>
          <a:p>
            <a:pPr lvl="0"/>
            <a:r>
              <a:rPr lang="en-US" dirty="0"/>
              <a:t>You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68418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FAD39-D1DD-4749-60E9-67193FDBE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DEB870-34A8-D2A9-23BD-9B84486265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99DD4C-7E37-7B47-F8E7-7A9B4EE316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2C792E-CEF3-95F7-AD22-418699FC8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430FC8-C69A-0208-6B76-66BABE123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45C77-8B01-C7A3-FD5B-D63FA3574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935889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F4ADD-93D3-D33E-DDD8-12FED89AB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2A0877-240D-3B7E-8670-961F13B35E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BDCEAD-FAAC-EA87-B0A8-C3A58C93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84475A-3BCC-1606-EFF9-F68A10DF81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FF9D4B-EB6A-EF43-FD17-02835DBD28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0747FD-2DE7-5F09-B54E-3AC46A5C1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6FB583-B516-1B2E-1AE5-33663E00E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6B8CC6-6FA9-A880-6535-38AB71D01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2789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40EEC-05E6-5C09-9573-3FE64C376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454140-F528-D747-47FC-7073AF16F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DB401C-30F1-4099-3FAE-3B187F1AA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3F5F5E-5995-87BD-F407-3E510DE83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79626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7CB7D-5FDC-704D-CDF7-082306BDF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5885B5-C358-B0D6-C5A1-EF002E241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A832C1-A799-6ED8-4F55-AF438F3F6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05549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A62D9-6414-C0CA-C91F-C7C82E65C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CF062-F6C4-CFFF-F616-30E935583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E2A763-7566-1546-9152-4D93693293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0E4AA4-DF1B-006B-CA82-73F19B6D5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CB5B6F-F49F-8BE2-2965-25CFB52CD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4674D3-2850-51B8-F6D9-A77F2F7CB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9998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17BB6-B836-1DAD-0025-99E2D67BE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5F7CFD-7BBD-FC32-9B78-D50BDC7127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92FA4-9370-C753-593A-C76B2DF962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A334D-F530-636A-1777-FBD8CD078C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B5780E-5E42-819A-473C-D99854855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8ACA4-588A-6109-6DD2-635749CAD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3577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136FA-CC82-2E6B-D9B2-16426FE95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E5AC02-8066-6038-5C73-D74FB32333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786D2D-8D96-B94F-FB79-92EF20A73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9EA95D-4CAF-8553-715F-23F4A0F40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F32A46-3EDC-BFB9-2C2D-0EED0B189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3806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9A3F4F-3DAB-66BA-C938-065CF0FBF2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989CC5-71A9-F8B9-D980-B39B2E64D2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5BBBFD-3E16-FA99-CB9A-6C2116B2D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6ED27E-3E0B-517F-3769-AF0487E35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7F5EC9-32FA-61A4-DFAE-190D8AF63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9193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53B9942-002A-22D1-91CB-1531EE2D59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426" y="5508512"/>
            <a:ext cx="8213273" cy="559127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D6EA88-E10E-8190-0B96-9596C14F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425" y="6175142"/>
            <a:ext cx="8213273" cy="251607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E12C98-1798-A5F7-FE16-ACE7C6403DE8}"/>
              </a:ext>
            </a:extLst>
          </p:cNvPr>
          <p:cNvSpPr/>
          <p:nvPr userDrawn="1"/>
        </p:nvSpPr>
        <p:spPr>
          <a:xfrm>
            <a:off x="-2094271" y="252427"/>
            <a:ext cx="808396" cy="671498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8AAB1-D293-2384-8099-421EE7B5C9F7}"/>
              </a:ext>
            </a:extLst>
          </p:cNvPr>
          <p:cNvSpPr/>
          <p:nvPr userDrawn="1"/>
        </p:nvSpPr>
        <p:spPr>
          <a:xfrm>
            <a:off x="-2094271" y="1131562"/>
            <a:ext cx="808396" cy="671498"/>
          </a:xfrm>
          <a:prstGeom prst="rect">
            <a:avLst/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D4E3F4-B2DE-24CB-8297-4F29F7A9FE83}"/>
              </a:ext>
            </a:extLst>
          </p:cNvPr>
          <p:cNvSpPr/>
          <p:nvPr userDrawn="1"/>
        </p:nvSpPr>
        <p:spPr>
          <a:xfrm>
            <a:off x="-2120542" y="2010236"/>
            <a:ext cx="808396" cy="67149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6431F9-CC47-0BC1-16CF-2A63E92E839D}"/>
              </a:ext>
            </a:extLst>
          </p:cNvPr>
          <p:cNvSpPr/>
          <p:nvPr userDrawn="1"/>
        </p:nvSpPr>
        <p:spPr>
          <a:xfrm>
            <a:off x="8845550" y="4914900"/>
            <a:ext cx="3346450" cy="1943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03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5FB4A42A-932A-A98C-50DD-289FBFF3403C}"/>
              </a:ext>
            </a:extLst>
          </p:cNvPr>
          <p:cNvSpPr/>
          <p:nvPr userDrawn="1"/>
        </p:nvSpPr>
        <p:spPr>
          <a:xfrm>
            <a:off x="11648809" y="6440259"/>
            <a:ext cx="347016" cy="34701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2D136E-45A3-6F34-CB3F-B568AC812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683" y="283555"/>
            <a:ext cx="9717746" cy="492443"/>
          </a:xfr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221F72-FF38-1172-237D-84665C97BFD1}"/>
              </a:ext>
            </a:extLst>
          </p:cNvPr>
          <p:cNvSpPr/>
          <p:nvPr userDrawn="1"/>
        </p:nvSpPr>
        <p:spPr>
          <a:xfrm>
            <a:off x="0" y="366609"/>
            <a:ext cx="283369" cy="297760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1D0D6B6-B620-BC1C-FCCB-F95E748A5ADC}"/>
              </a:ext>
            </a:extLst>
          </p:cNvPr>
          <p:cNvSpPr txBox="1">
            <a:spLocks/>
          </p:cNvSpPr>
          <p:nvPr userDrawn="1"/>
        </p:nvSpPr>
        <p:spPr>
          <a:xfrm>
            <a:off x="11750182" y="6552212"/>
            <a:ext cx="14427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‹#›</a:t>
            </a:fld>
            <a:endParaRPr lang="en-US" sz="800" dirty="0"/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A44CB0D2-49CF-E5AC-4133-209F5EE4D0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943" y="231367"/>
            <a:ext cx="1538514" cy="56824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7525F1-88EB-9FA4-B257-7A4B3AF69691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6613767"/>
            <a:ext cx="1164880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FD313F-B6BF-B79B-7F98-479035D6D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888" y="981075"/>
            <a:ext cx="11487150" cy="5397500"/>
          </a:xfrm>
        </p:spPr>
        <p:txBody>
          <a:bodyPr/>
          <a:lstStyle>
            <a:lvl2pPr marL="450850" indent="-184150">
              <a:tabLst>
                <a:tab pos="450850" algn="l"/>
              </a:tabLst>
              <a:defRPr/>
            </a:lvl2pPr>
            <a:lvl3pPr marL="628650" indent="-177800">
              <a:defRPr/>
            </a:lvl3pPr>
            <a:lvl4pPr marL="806450" indent="-177800">
              <a:defRPr/>
            </a:lvl4pPr>
            <a:lvl5pPr marL="984250" indent="-1778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2502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61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2DF333-049F-7D0E-9421-A5E8BC83D2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885192"/>
            <a:ext cx="12192000" cy="3972808"/>
          </a:xfrm>
        </p:spPr>
        <p:txBody>
          <a:bodyPr>
            <a:noAutofit/>
          </a:bodyPr>
          <a:lstStyle/>
          <a:p>
            <a:endParaRPr lang="en-IN"/>
          </a:p>
        </p:txBody>
      </p: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E6C0E608-D392-D91C-025E-31F0F23C35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85" y="650411"/>
            <a:ext cx="2655688" cy="980865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9F016E0-7151-CA3E-5869-D9D3F299C0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60912" y="721498"/>
            <a:ext cx="6937375" cy="838691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60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Section Divid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458156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4A4E00C-D2B2-D69D-1922-A31BAEB1196B}"/>
              </a:ext>
            </a:extLst>
          </p:cNvPr>
          <p:cNvSpPr/>
          <p:nvPr userDrawn="1"/>
        </p:nvSpPr>
        <p:spPr>
          <a:xfrm>
            <a:off x="457201" y="326572"/>
            <a:ext cx="6204856" cy="6204856"/>
          </a:xfrm>
          <a:prstGeom prst="ellipse">
            <a:avLst/>
          </a:prstGeom>
          <a:solidFill>
            <a:srgbClr val="0099FF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1F780D4-5DCA-2BD6-BBEE-4C858E72E423}"/>
              </a:ext>
            </a:extLst>
          </p:cNvPr>
          <p:cNvSpPr/>
          <p:nvPr userDrawn="1"/>
        </p:nvSpPr>
        <p:spPr>
          <a:xfrm>
            <a:off x="805278" y="674649"/>
            <a:ext cx="5508702" cy="5508702"/>
          </a:xfrm>
          <a:prstGeom prst="ellipse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A57A8B76-348F-538A-F368-72854CC72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5512" y="674649"/>
            <a:ext cx="2845584" cy="1051002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91CBB80-A2FD-3A5D-C72D-1156C8E6EC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75512" y="2914650"/>
            <a:ext cx="4111210" cy="2577116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88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Thank</a:t>
            </a:r>
          </a:p>
          <a:p>
            <a:pPr lvl="0"/>
            <a:r>
              <a:rPr lang="en-US" dirty="0"/>
              <a:t>You</a:t>
            </a:r>
            <a:endParaRPr lang="en-IN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EBE4142-8433-B090-748D-FC9DA542DF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2304" y="851675"/>
            <a:ext cx="5154651" cy="5154651"/>
          </a:xfrm>
          <a:prstGeom prst="flowChartConnector">
            <a:avLst/>
          </a:prstGeom>
          <a:solidFill>
            <a:schemeClr val="bg1"/>
          </a:solidFill>
        </p:spPr>
        <p:txBody>
          <a:bodyPr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557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625D6D-7C8F-284E-40B0-6220E68F8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95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625D6D-7C8F-284E-40B0-6220E68F8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Diagram, engineering drawing&#10;&#10;Description automatically generated">
            <a:extLst>
              <a:ext uri="{FF2B5EF4-FFF2-40B4-BE49-F238E27FC236}">
                <a16:creationId xmlns:a16="http://schemas.microsoft.com/office/drawing/2014/main" id="{B3416644-406D-DEBF-6DE2-A819492D27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663" b="366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A57A8B76-348F-538A-F368-72854CC727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12" y="674649"/>
            <a:ext cx="2845584" cy="1051002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391CBB80-A2FD-3A5D-C72D-1156C8E6EC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2112" y="2914650"/>
            <a:ext cx="4111210" cy="2577116"/>
          </a:xfr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8800" b="1">
                <a:solidFill>
                  <a:srgbClr val="0099FF"/>
                </a:solidFill>
              </a:defRPr>
            </a:lvl1pPr>
          </a:lstStyle>
          <a:p>
            <a:pPr lvl="0"/>
            <a:r>
              <a:rPr lang="en-US" dirty="0"/>
              <a:t>Thank</a:t>
            </a:r>
          </a:p>
          <a:p>
            <a:pPr lvl="0"/>
            <a:r>
              <a:rPr lang="en-US" dirty="0"/>
              <a:t>You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32610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FAD39-D1DD-4749-60E9-67193FDBE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DEB870-34A8-D2A9-23BD-9B84486265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99DD4C-7E37-7B47-F8E7-7A9B4EE316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2C792E-CEF3-95F7-AD22-418699FC8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430FC8-C69A-0208-6B76-66BABE123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45C77-8B01-C7A3-FD5B-D63FA3574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7090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F4ADD-93D3-D33E-DDD8-12FED89AB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2A0877-240D-3B7E-8670-961F13B35E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BDCEAD-FAAC-EA87-B0A8-C3A58C93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84475A-3BCC-1606-EFF9-F68A10DF81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FF9D4B-EB6A-EF43-FD17-02835DBD28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0747FD-2DE7-5F09-B54E-3AC46A5C1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6FB583-B516-1B2E-1AE5-33663E00E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6B8CC6-6FA9-A880-6535-38AB71D01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3507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362FB7-26CB-9812-D7E2-35D3AA571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6652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362FB7-26CB-9812-D7E2-35D3AA571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54B3B1-DD9D-DEB6-C67F-E0F43630E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2A6069-3751-FC19-B1FB-60CECC16B0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5B77DC-00A5-B773-5AAF-F211770F22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31E7D-6D76-03E4-9531-DF5FEB6B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07E7BA-F863-76EC-C181-6A57E5F3F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7B2440-CB1E-9982-7FDA-98E2FF0F9C2E}"/>
              </a:ext>
            </a:extLst>
          </p:cNvPr>
          <p:cNvSpPr/>
          <p:nvPr userDrawn="1"/>
        </p:nvSpPr>
        <p:spPr>
          <a:xfrm>
            <a:off x="-1206500" y="1143000"/>
            <a:ext cx="647700" cy="355600"/>
          </a:xfrm>
          <a:prstGeom prst="rect">
            <a:avLst/>
          </a:prstGeom>
          <a:solidFill>
            <a:srgbClr val="596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C2EF71-F6F4-3BB9-52F0-E2C1F015C725}"/>
              </a:ext>
            </a:extLst>
          </p:cNvPr>
          <p:cNvSpPr/>
          <p:nvPr userDrawn="1"/>
        </p:nvSpPr>
        <p:spPr>
          <a:xfrm>
            <a:off x="-1206500" y="1693545"/>
            <a:ext cx="647700" cy="355600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BB677A-73A0-535F-EC1A-CADEA12E142A}"/>
              </a:ext>
            </a:extLst>
          </p:cNvPr>
          <p:cNvSpPr/>
          <p:nvPr userDrawn="1"/>
        </p:nvSpPr>
        <p:spPr>
          <a:xfrm>
            <a:off x="-1206500" y="2244090"/>
            <a:ext cx="647700" cy="355600"/>
          </a:xfrm>
          <a:prstGeom prst="rect">
            <a:avLst/>
          </a:prstGeom>
          <a:solidFill>
            <a:srgbClr val="FCA9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1C0ECC-A42F-8EFD-00E1-A948165FD2E0}"/>
              </a:ext>
            </a:extLst>
          </p:cNvPr>
          <p:cNvSpPr/>
          <p:nvPr userDrawn="1"/>
        </p:nvSpPr>
        <p:spPr>
          <a:xfrm>
            <a:off x="-1206500" y="2794635"/>
            <a:ext cx="647700" cy="355600"/>
          </a:xfrm>
          <a:prstGeom prst="rect">
            <a:avLst/>
          </a:prstGeom>
          <a:solidFill>
            <a:srgbClr val="DE3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N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94F75A-FCA5-5218-CB7F-E53441AA3952}"/>
              </a:ext>
            </a:extLst>
          </p:cNvPr>
          <p:cNvSpPr/>
          <p:nvPr userDrawn="1"/>
        </p:nvSpPr>
        <p:spPr>
          <a:xfrm>
            <a:off x="-1206500" y="3345180"/>
            <a:ext cx="647700" cy="355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N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546FE7-C712-C79E-A609-5E82CCD7BB23}"/>
              </a:ext>
            </a:extLst>
          </p:cNvPr>
          <p:cNvSpPr/>
          <p:nvPr userDrawn="1"/>
        </p:nvSpPr>
        <p:spPr>
          <a:xfrm>
            <a:off x="-1206500" y="3895725"/>
            <a:ext cx="647700" cy="3556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0743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1" r:id="rId3"/>
    <p:sldLayoutId id="2147483650" r:id="rId4"/>
    <p:sldLayoutId id="2147483651" r:id="rId5"/>
    <p:sldLayoutId id="2147483660" r:id="rId6"/>
    <p:sldLayoutId id="2147483662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746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1200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889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362FB7-26CB-9812-D7E2-35D3AA571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6652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362FB7-26CB-9812-D7E2-35D3AA571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54B3B1-DD9D-DEB6-C67F-E0F43630E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2A6069-3751-FC19-B1FB-60CECC16B0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5B77DC-00A5-B773-5AAF-F211770F22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D1B3B8-07EF-436D-A21F-925C690BE4D9}" type="datetimeFigureOut">
              <a:rPr lang="en-IN" smtClean="0"/>
              <a:t>03-11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31E7D-6D76-03E4-9531-DF5FEB6B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07E7BA-F863-76EC-C181-6A57E5F3F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91E207-B815-468C-9452-DE570B7383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497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746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1200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889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video" Target="../media/media1.mp4"/><Relationship Id="rId7" Type="http://schemas.openxmlformats.org/officeDocument/2006/relationships/image" Target="../media/image4.jpeg"/><Relationship Id="rId2" Type="http://schemas.microsoft.com/office/2007/relationships/media" Target="../media/media1.mp4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5" Type="http://schemas.openxmlformats.org/officeDocument/2006/relationships/image" Target="../media/image160.jpeg"/><Relationship Id="rId4" Type="http://schemas.openxmlformats.org/officeDocument/2006/relationships/image" Target="../media/image159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svg"/><Relationship Id="rId13" Type="http://schemas.openxmlformats.org/officeDocument/2006/relationships/image" Target="../media/image167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63.png"/><Relationship Id="rId12" Type="http://schemas.openxmlformats.org/officeDocument/2006/relationships/image" Target="../media/image59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5.xml"/><Relationship Id="rId6" Type="http://schemas.openxmlformats.org/officeDocument/2006/relationships/image" Target="../media/image162.svg"/><Relationship Id="rId11" Type="http://schemas.openxmlformats.org/officeDocument/2006/relationships/image" Target="../media/image58.png"/><Relationship Id="rId5" Type="http://schemas.openxmlformats.org/officeDocument/2006/relationships/image" Target="../media/image161.png"/><Relationship Id="rId10" Type="http://schemas.openxmlformats.org/officeDocument/2006/relationships/image" Target="../media/image166.svg"/><Relationship Id="rId4" Type="http://schemas.openxmlformats.org/officeDocument/2006/relationships/image" Target="../media/image1.emf"/><Relationship Id="rId9" Type="http://schemas.openxmlformats.org/officeDocument/2006/relationships/image" Target="../media/image165.png"/><Relationship Id="rId14" Type="http://schemas.openxmlformats.org/officeDocument/2006/relationships/image" Target="../media/image168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13" Type="http://schemas.openxmlformats.org/officeDocument/2006/relationships/image" Target="../media/image177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71.svg"/><Relationship Id="rId12" Type="http://schemas.openxmlformats.org/officeDocument/2006/relationships/image" Target="../media/image17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70.png"/><Relationship Id="rId11" Type="http://schemas.openxmlformats.org/officeDocument/2006/relationships/image" Target="../media/image175.svg"/><Relationship Id="rId5" Type="http://schemas.openxmlformats.org/officeDocument/2006/relationships/image" Target="../media/image169.jpeg"/><Relationship Id="rId10" Type="http://schemas.openxmlformats.org/officeDocument/2006/relationships/image" Target="../media/image174.png"/><Relationship Id="rId4" Type="http://schemas.openxmlformats.org/officeDocument/2006/relationships/image" Target="../media/image1.emf"/><Relationship Id="rId9" Type="http://schemas.openxmlformats.org/officeDocument/2006/relationships/image" Target="../media/image17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svg"/><Relationship Id="rId13" Type="http://schemas.openxmlformats.org/officeDocument/2006/relationships/image" Target="../media/image185.png"/><Relationship Id="rId18" Type="http://schemas.openxmlformats.org/officeDocument/2006/relationships/image" Target="../media/image190.svg"/><Relationship Id="rId26" Type="http://schemas.openxmlformats.org/officeDocument/2006/relationships/image" Target="../media/image196.svg"/><Relationship Id="rId3" Type="http://schemas.openxmlformats.org/officeDocument/2006/relationships/oleObject" Target="../embeddings/oleObject16.bin"/><Relationship Id="rId21" Type="http://schemas.openxmlformats.org/officeDocument/2006/relationships/image" Target="../media/image193.png"/><Relationship Id="rId7" Type="http://schemas.openxmlformats.org/officeDocument/2006/relationships/image" Target="../media/image180.png"/><Relationship Id="rId12" Type="http://schemas.openxmlformats.org/officeDocument/2006/relationships/image" Target="../media/image184.svg"/><Relationship Id="rId17" Type="http://schemas.openxmlformats.org/officeDocument/2006/relationships/image" Target="../media/image189.png"/><Relationship Id="rId25" Type="http://schemas.openxmlformats.org/officeDocument/2006/relationships/image" Target="../media/image19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88.svg"/><Relationship Id="rId20" Type="http://schemas.openxmlformats.org/officeDocument/2006/relationships/image" Target="../media/image192.svg"/><Relationship Id="rId1" Type="http://schemas.openxmlformats.org/officeDocument/2006/relationships/tags" Target="../tags/tag17.xml"/><Relationship Id="rId6" Type="http://schemas.openxmlformats.org/officeDocument/2006/relationships/image" Target="../media/image179.svg"/><Relationship Id="rId11" Type="http://schemas.openxmlformats.org/officeDocument/2006/relationships/image" Target="../media/image21.png"/><Relationship Id="rId24" Type="http://schemas.openxmlformats.org/officeDocument/2006/relationships/image" Target="../media/image173.svg"/><Relationship Id="rId5" Type="http://schemas.openxmlformats.org/officeDocument/2006/relationships/image" Target="../media/image178.png"/><Relationship Id="rId15" Type="http://schemas.openxmlformats.org/officeDocument/2006/relationships/image" Target="../media/image187.png"/><Relationship Id="rId23" Type="http://schemas.openxmlformats.org/officeDocument/2006/relationships/image" Target="../media/image172.png"/><Relationship Id="rId10" Type="http://schemas.openxmlformats.org/officeDocument/2006/relationships/image" Target="../media/image183.svg"/><Relationship Id="rId19" Type="http://schemas.openxmlformats.org/officeDocument/2006/relationships/image" Target="../media/image191.png"/><Relationship Id="rId4" Type="http://schemas.openxmlformats.org/officeDocument/2006/relationships/image" Target="../media/image159.emf"/><Relationship Id="rId9" Type="http://schemas.openxmlformats.org/officeDocument/2006/relationships/image" Target="../media/image182.png"/><Relationship Id="rId14" Type="http://schemas.openxmlformats.org/officeDocument/2006/relationships/image" Target="../media/image186.svg"/><Relationship Id="rId22" Type="http://schemas.openxmlformats.org/officeDocument/2006/relationships/image" Target="../media/image19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svg"/><Relationship Id="rId13" Type="http://schemas.openxmlformats.org/officeDocument/2006/relationships/image" Target="../media/image205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99.png"/><Relationship Id="rId12" Type="http://schemas.openxmlformats.org/officeDocument/2006/relationships/image" Target="../media/image204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8.xml"/><Relationship Id="rId6" Type="http://schemas.openxmlformats.org/officeDocument/2006/relationships/image" Target="../media/image198.svg"/><Relationship Id="rId11" Type="http://schemas.openxmlformats.org/officeDocument/2006/relationships/image" Target="../media/image203.png"/><Relationship Id="rId5" Type="http://schemas.openxmlformats.org/officeDocument/2006/relationships/image" Target="../media/image197.png"/><Relationship Id="rId10" Type="http://schemas.openxmlformats.org/officeDocument/2006/relationships/image" Target="../media/image202.svg"/><Relationship Id="rId4" Type="http://schemas.openxmlformats.org/officeDocument/2006/relationships/image" Target="../media/image1.emf"/><Relationship Id="rId9" Type="http://schemas.openxmlformats.org/officeDocument/2006/relationships/image" Target="../media/image201.png"/><Relationship Id="rId14" Type="http://schemas.openxmlformats.org/officeDocument/2006/relationships/image" Target="../media/image20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jpeg"/><Relationship Id="rId4" Type="http://schemas.openxmlformats.org/officeDocument/2006/relationships/image" Target="../media/image10.sv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.emf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.jpg"/><Relationship Id="rId18" Type="http://schemas.openxmlformats.org/officeDocument/2006/relationships/image" Target="../media/image38.png"/><Relationship Id="rId26" Type="http://schemas.openxmlformats.org/officeDocument/2006/relationships/image" Target="../media/image45.png"/><Relationship Id="rId3" Type="http://schemas.openxmlformats.org/officeDocument/2006/relationships/oleObject" Target="../embeddings/oleObject7.bin"/><Relationship Id="rId21" Type="http://schemas.openxmlformats.org/officeDocument/2006/relationships/image" Target="../media/image41.png"/><Relationship Id="rId34" Type="http://schemas.openxmlformats.org/officeDocument/2006/relationships/image" Target="../media/image5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jpg"/><Relationship Id="rId25" Type="http://schemas.openxmlformats.org/officeDocument/2006/relationships/image" Target="../media/image44.png"/><Relationship Id="rId33" Type="http://schemas.openxmlformats.org/officeDocument/2006/relationships/image" Target="../media/image52.jp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36.png"/><Relationship Id="rId20" Type="http://schemas.openxmlformats.org/officeDocument/2006/relationships/image" Target="../media/image40.jpg"/><Relationship Id="rId29" Type="http://schemas.openxmlformats.org/officeDocument/2006/relationships/image" Target="../media/image48.png"/><Relationship Id="rId1" Type="http://schemas.openxmlformats.org/officeDocument/2006/relationships/tags" Target="../tags/tag8.xml"/><Relationship Id="rId6" Type="http://schemas.openxmlformats.org/officeDocument/2006/relationships/image" Target="../media/image26.svg"/><Relationship Id="rId11" Type="http://schemas.openxmlformats.org/officeDocument/2006/relationships/image" Target="../media/image31.jpg"/><Relationship Id="rId24" Type="http://schemas.openxmlformats.org/officeDocument/2006/relationships/image" Target="../media/image43.jpg"/><Relationship Id="rId32" Type="http://schemas.openxmlformats.org/officeDocument/2006/relationships/image" Target="../media/image51.jpg"/><Relationship Id="rId5" Type="http://schemas.openxmlformats.org/officeDocument/2006/relationships/image" Target="../media/image25.png"/><Relationship Id="rId15" Type="http://schemas.openxmlformats.org/officeDocument/2006/relationships/image" Target="../media/image35.jpg"/><Relationship Id="rId23" Type="http://schemas.openxmlformats.org/officeDocument/2006/relationships/image" Target="../media/image2.jpg"/><Relationship Id="rId28" Type="http://schemas.openxmlformats.org/officeDocument/2006/relationships/image" Target="../media/image47.png"/><Relationship Id="rId36" Type="http://schemas.openxmlformats.org/officeDocument/2006/relationships/image" Target="../media/image55.jpg"/><Relationship Id="rId10" Type="http://schemas.openxmlformats.org/officeDocument/2006/relationships/image" Target="../media/image30.png"/><Relationship Id="rId19" Type="http://schemas.openxmlformats.org/officeDocument/2006/relationships/image" Target="../media/image39.png"/><Relationship Id="rId31" Type="http://schemas.openxmlformats.org/officeDocument/2006/relationships/image" Target="../media/image50.jpg"/><Relationship Id="rId4" Type="http://schemas.openxmlformats.org/officeDocument/2006/relationships/image" Target="../media/image1.emf"/><Relationship Id="rId9" Type="http://schemas.openxmlformats.org/officeDocument/2006/relationships/image" Target="../media/image29.pn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6.jpg"/><Relationship Id="rId30" Type="http://schemas.openxmlformats.org/officeDocument/2006/relationships/image" Target="../media/image49.png"/><Relationship Id="rId35" Type="http://schemas.openxmlformats.org/officeDocument/2006/relationships/image" Target="../media/image54.png"/><Relationship Id="rId8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76.svg"/><Relationship Id="rId7" Type="http://schemas.openxmlformats.org/officeDocument/2006/relationships/image" Target="../media/image62.jpe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tags" Target="../tags/tag10.xml"/><Relationship Id="rId6" Type="http://schemas.openxmlformats.org/officeDocument/2006/relationships/image" Target="../media/image61.svg"/><Relationship Id="rId11" Type="http://schemas.openxmlformats.org/officeDocument/2006/relationships/image" Target="../media/image66.svg"/><Relationship Id="rId5" Type="http://schemas.openxmlformats.org/officeDocument/2006/relationships/image" Target="../media/image60.png"/><Relationship Id="rId15" Type="http://schemas.openxmlformats.org/officeDocument/2006/relationships/image" Target="../media/image70.svg"/><Relationship Id="rId23" Type="http://schemas.openxmlformats.org/officeDocument/2006/relationships/image" Target="../media/image78.svg"/><Relationship Id="rId10" Type="http://schemas.openxmlformats.org/officeDocument/2006/relationships/image" Target="../media/image65.png"/><Relationship Id="rId19" Type="http://schemas.openxmlformats.org/officeDocument/2006/relationships/image" Target="../media/image74.svg"/><Relationship Id="rId4" Type="http://schemas.openxmlformats.org/officeDocument/2006/relationships/image" Target="../media/image1.emf"/><Relationship Id="rId9" Type="http://schemas.openxmlformats.org/officeDocument/2006/relationships/image" Target="../media/image64.svg"/><Relationship Id="rId14" Type="http://schemas.openxmlformats.org/officeDocument/2006/relationships/image" Target="../media/image69.png"/><Relationship Id="rId22" Type="http://schemas.openxmlformats.org/officeDocument/2006/relationships/image" Target="../media/image7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svg"/><Relationship Id="rId13" Type="http://schemas.openxmlformats.org/officeDocument/2006/relationships/image" Target="../media/image87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81.png"/><Relationship Id="rId12" Type="http://schemas.openxmlformats.org/officeDocument/2006/relationships/image" Target="../media/image8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80.jpeg"/><Relationship Id="rId11" Type="http://schemas.openxmlformats.org/officeDocument/2006/relationships/image" Target="../media/image85.png"/><Relationship Id="rId5" Type="http://schemas.openxmlformats.org/officeDocument/2006/relationships/image" Target="../media/image79.jpeg"/><Relationship Id="rId10" Type="http://schemas.openxmlformats.org/officeDocument/2006/relationships/image" Target="../media/image84.svg"/><Relationship Id="rId4" Type="http://schemas.openxmlformats.org/officeDocument/2006/relationships/image" Target="../media/image1.emf"/><Relationship Id="rId9" Type="http://schemas.openxmlformats.org/officeDocument/2006/relationships/image" Target="../media/image83.png"/><Relationship Id="rId14" Type="http://schemas.openxmlformats.org/officeDocument/2006/relationships/image" Target="../media/image88.svg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09.png"/><Relationship Id="rId21" Type="http://schemas.openxmlformats.org/officeDocument/2006/relationships/image" Target="../media/image104.svg"/><Relationship Id="rId42" Type="http://schemas.openxmlformats.org/officeDocument/2006/relationships/image" Target="../media/image125.png"/><Relationship Id="rId47" Type="http://schemas.openxmlformats.org/officeDocument/2006/relationships/image" Target="../media/image130.svg"/><Relationship Id="rId63" Type="http://schemas.openxmlformats.org/officeDocument/2006/relationships/image" Target="../media/image146.svg"/><Relationship Id="rId68" Type="http://schemas.openxmlformats.org/officeDocument/2006/relationships/image" Target="../media/image151.pn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99.png"/><Relationship Id="rId29" Type="http://schemas.openxmlformats.org/officeDocument/2006/relationships/image" Target="../media/image112.svg"/><Relationship Id="rId11" Type="http://schemas.openxmlformats.org/officeDocument/2006/relationships/image" Target="../media/image94.svg"/><Relationship Id="rId24" Type="http://schemas.openxmlformats.org/officeDocument/2006/relationships/image" Target="../media/image107.png"/><Relationship Id="rId32" Type="http://schemas.openxmlformats.org/officeDocument/2006/relationships/image" Target="../media/image115.png"/><Relationship Id="rId37" Type="http://schemas.openxmlformats.org/officeDocument/2006/relationships/image" Target="../media/image120.svg"/><Relationship Id="rId40" Type="http://schemas.openxmlformats.org/officeDocument/2006/relationships/image" Target="../media/image123.png"/><Relationship Id="rId45" Type="http://schemas.openxmlformats.org/officeDocument/2006/relationships/image" Target="../media/image128.svg"/><Relationship Id="rId53" Type="http://schemas.openxmlformats.org/officeDocument/2006/relationships/image" Target="../media/image136.svg"/><Relationship Id="rId58" Type="http://schemas.openxmlformats.org/officeDocument/2006/relationships/image" Target="../media/image141.png"/><Relationship Id="rId66" Type="http://schemas.openxmlformats.org/officeDocument/2006/relationships/image" Target="../media/image149.png"/><Relationship Id="rId74" Type="http://schemas.openxmlformats.org/officeDocument/2006/relationships/image" Target="../media/image157.png"/><Relationship Id="rId5" Type="http://schemas.openxmlformats.org/officeDocument/2006/relationships/image" Target="../media/image90.svg"/><Relationship Id="rId61" Type="http://schemas.openxmlformats.org/officeDocument/2006/relationships/image" Target="../media/image144.svg"/><Relationship Id="rId19" Type="http://schemas.openxmlformats.org/officeDocument/2006/relationships/image" Target="../media/image102.sv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Relationship Id="rId27" Type="http://schemas.openxmlformats.org/officeDocument/2006/relationships/image" Target="../media/image110.svg"/><Relationship Id="rId30" Type="http://schemas.openxmlformats.org/officeDocument/2006/relationships/image" Target="../media/image113.png"/><Relationship Id="rId35" Type="http://schemas.openxmlformats.org/officeDocument/2006/relationships/image" Target="../media/image118.svg"/><Relationship Id="rId43" Type="http://schemas.openxmlformats.org/officeDocument/2006/relationships/image" Target="../media/image126.svg"/><Relationship Id="rId48" Type="http://schemas.openxmlformats.org/officeDocument/2006/relationships/image" Target="../media/image131.png"/><Relationship Id="rId56" Type="http://schemas.openxmlformats.org/officeDocument/2006/relationships/image" Target="../media/image139.png"/><Relationship Id="rId64" Type="http://schemas.openxmlformats.org/officeDocument/2006/relationships/image" Target="../media/image147.png"/><Relationship Id="rId69" Type="http://schemas.openxmlformats.org/officeDocument/2006/relationships/image" Target="../media/image152.svg"/><Relationship Id="rId8" Type="http://schemas.openxmlformats.org/officeDocument/2006/relationships/oleObject" Target="../embeddings/oleObject11.bin"/><Relationship Id="rId51" Type="http://schemas.openxmlformats.org/officeDocument/2006/relationships/image" Target="../media/image134.svg"/><Relationship Id="rId72" Type="http://schemas.openxmlformats.org/officeDocument/2006/relationships/image" Target="../media/image155.png"/><Relationship Id="rId3" Type="http://schemas.openxmlformats.org/officeDocument/2006/relationships/notesSlide" Target="../notesSlides/notesSlide1.xml"/><Relationship Id="rId12" Type="http://schemas.openxmlformats.org/officeDocument/2006/relationships/image" Target="../media/image95.png"/><Relationship Id="rId17" Type="http://schemas.openxmlformats.org/officeDocument/2006/relationships/image" Target="../media/image100.svg"/><Relationship Id="rId25" Type="http://schemas.openxmlformats.org/officeDocument/2006/relationships/image" Target="../media/image108.svg"/><Relationship Id="rId33" Type="http://schemas.openxmlformats.org/officeDocument/2006/relationships/image" Target="../media/image116.svg"/><Relationship Id="rId38" Type="http://schemas.openxmlformats.org/officeDocument/2006/relationships/image" Target="../media/image121.png"/><Relationship Id="rId46" Type="http://schemas.openxmlformats.org/officeDocument/2006/relationships/image" Target="../media/image129.png"/><Relationship Id="rId59" Type="http://schemas.openxmlformats.org/officeDocument/2006/relationships/image" Target="../media/image142.svg"/><Relationship Id="rId67" Type="http://schemas.openxmlformats.org/officeDocument/2006/relationships/image" Target="../media/image150.svg"/><Relationship Id="rId20" Type="http://schemas.openxmlformats.org/officeDocument/2006/relationships/image" Target="../media/image103.png"/><Relationship Id="rId41" Type="http://schemas.openxmlformats.org/officeDocument/2006/relationships/image" Target="../media/image124.svg"/><Relationship Id="rId54" Type="http://schemas.openxmlformats.org/officeDocument/2006/relationships/image" Target="../media/image137.png"/><Relationship Id="rId62" Type="http://schemas.openxmlformats.org/officeDocument/2006/relationships/image" Target="../media/image145.png"/><Relationship Id="rId70" Type="http://schemas.openxmlformats.org/officeDocument/2006/relationships/image" Target="../media/image153.png"/><Relationship Id="rId75" Type="http://schemas.openxmlformats.org/officeDocument/2006/relationships/image" Target="../media/image158.svg"/><Relationship Id="rId1" Type="http://schemas.openxmlformats.org/officeDocument/2006/relationships/tags" Target="../tags/tag12.xml"/><Relationship Id="rId6" Type="http://schemas.openxmlformats.org/officeDocument/2006/relationships/image" Target="../media/image91.png"/><Relationship Id="rId15" Type="http://schemas.openxmlformats.org/officeDocument/2006/relationships/image" Target="../media/image98.svg"/><Relationship Id="rId23" Type="http://schemas.openxmlformats.org/officeDocument/2006/relationships/image" Target="../media/image106.svg"/><Relationship Id="rId28" Type="http://schemas.openxmlformats.org/officeDocument/2006/relationships/image" Target="../media/image111.png"/><Relationship Id="rId36" Type="http://schemas.openxmlformats.org/officeDocument/2006/relationships/image" Target="../media/image119.png"/><Relationship Id="rId49" Type="http://schemas.openxmlformats.org/officeDocument/2006/relationships/image" Target="../media/image132.svg"/><Relationship Id="rId57" Type="http://schemas.openxmlformats.org/officeDocument/2006/relationships/image" Target="../media/image140.svg"/><Relationship Id="rId10" Type="http://schemas.openxmlformats.org/officeDocument/2006/relationships/image" Target="../media/image93.png"/><Relationship Id="rId31" Type="http://schemas.openxmlformats.org/officeDocument/2006/relationships/image" Target="../media/image114.svg"/><Relationship Id="rId44" Type="http://schemas.openxmlformats.org/officeDocument/2006/relationships/image" Target="../media/image127.png"/><Relationship Id="rId52" Type="http://schemas.openxmlformats.org/officeDocument/2006/relationships/image" Target="../media/image135.png"/><Relationship Id="rId60" Type="http://schemas.openxmlformats.org/officeDocument/2006/relationships/image" Target="../media/image143.png"/><Relationship Id="rId65" Type="http://schemas.openxmlformats.org/officeDocument/2006/relationships/image" Target="../media/image148.svg"/><Relationship Id="rId73" Type="http://schemas.openxmlformats.org/officeDocument/2006/relationships/image" Target="../media/image156.svg"/><Relationship Id="rId4" Type="http://schemas.openxmlformats.org/officeDocument/2006/relationships/image" Target="../media/image89.png"/><Relationship Id="rId9" Type="http://schemas.openxmlformats.org/officeDocument/2006/relationships/image" Target="../media/image1.emf"/><Relationship Id="rId13" Type="http://schemas.openxmlformats.org/officeDocument/2006/relationships/image" Target="../media/image96.svg"/><Relationship Id="rId18" Type="http://schemas.openxmlformats.org/officeDocument/2006/relationships/image" Target="../media/image101.png"/><Relationship Id="rId39" Type="http://schemas.openxmlformats.org/officeDocument/2006/relationships/image" Target="../media/image122.svg"/><Relationship Id="rId34" Type="http://schemas.openxmlformats.org/officeDocument/2006/relationships/image" Target="../media/image117.png"/><Relationship Id="rId50" Type="http://schemas.openxmlformats.org/officeDocument/2006/relationships/image" Target="../media/image133.png"/><Relationship Id="rId55" Type="http://schemas.openxmlformats.org/officeDocument/2006/relationships/image" Target="../media/image138.svg"/><Relationship Id="rId7" Type="http://schemas.openxmlformats.org/officeDocument/2006/relationships/image" Target="../media/image92.svg"/><Relationship Id="rId71" Type="http://schemas.openxmlformats.org/officeDocument/2006/relationships/image" Target="../media/image15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8596F8-532F-97AB-D25B-BAEE31D8A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8596F8-532F-97AB-D25B-BAEE31D8A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group of green leaves&#10;&#10;Description automatically generated with low confidence">
            <a:extLst>
              <a:ext uri="{FF2B5EF4-FFF2-40B4-BE49-F238E27FC236}">
                <a16:creationId xmlns:a16="http://schemas.microsoft.com/office/drawing/2014/main" id="{F61B213A-29C0-0872-89E8-D70E1624DCB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Freeform 4">
            <a:extLst>
              <a:ext uri="{FF2B5EF4-FFF2-40B4-BE49-F238E27FC236}">
                <a16:creationId xmlns:a16="http://schemas.microsoft.com/office/drawing/2014/main" id="{263DB7FC-8DCF-811B-B339-EECFD31BB08A}"/>
              </a:ext>
            </a:extLst>
          </p:cNvPr>
          <p:cNvSpPr/>
          <p:nvPr/>
        </p:nvSpPr>
        <p:spPr>
          <a:xfrm>
            <a:off x="616077" y="708819"/>
            <a:ext cx="10857983" cy="5505454"/>
          </a:xfrm>
          <a:custGeom>
            <a:avLst/>
            <a:gdLst/>
            <a:ahLst/>
            <a:cxnLst/>
            <a:rect l="l" t="t" r="r" b="b"/>
            <a:pathLst>
              <a:path w="3774617" h="1913890">
                <a:moveTo>
                  <a:pt x="0" y="0"/>
                </a:moveTo>
                <a:lnTo>
                  <a:pt x="3774617" y="0"/>
                </a:lnTo>
                <a:lnTo>
                  <a:pt x="3774617" y="1913890"/>
                </a:lnTo>
                <a:lnTo>
                  <a:pt x="0" y="1913890"/>
                </a:lnTo>
                <a:close/>
              </a:path>
            </a:pathLst>
          </a:custGeom>
          <a:solidFill>
            <a:srgbClr val="1E2C25">
              <a:alpha val="69804"/>
            </a:srgbClr>
          </a:solidFill>
        </p:spPr>
        <p:txBody>
          <a:bodyPr/>
          <a:lstStyle/>
          <a:p>
            <a:endParaRPr lang="en-IN" dirty="0"/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BD5C2929-96ED-6705-4589-DB93F80100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 flipH="1" flipV="1">
            <a:off x="-29479" y="-17396"/>
            <a:ext cx="1749110" cy="1749110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B111301C-F6BF-58EE-2205-7AF802FFA6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>
            <a:off x="10455755" y="5115313"/>
            <a:ext cx="1749110" cy="1749110"/>
          </a:xfrm>
          <a:prstGeom prst="rect">
            <a:avLst/>
          </a:prstGeom>
        </p:spPr>
      </p:pic>
      <p:grpSp>
        <p:nvGrpSpPr>
          <p:cNvPr id="16" name="Group 7">
            <a:extLst>
              <a:ext uri="{FF2B5EF4-FFF2-40B4-BE49-F238E27FC236}">
                <a16:creationId xmlns:a16="http://schemas.microsoft.com/office/drawing/2014/main" id="{A1C1106F-734E-B6E2-1790-7A2FED01C7E2}"/>
              </a:ext>
            </a:extLst>
          </p:cNvPr>
          <p:cNvGrpSpPr/>
          <p:nvPr/>
        </p:nvGrpSpPr>
        <p:grpSpPr>
          <a:xfrm>
            <a:off x="5293426" y="1872905"/>
            <a:ext cx="661714" cy="661714"/>
            <a:chOff x="0" y="0"/>
            <a:chExt cx="6350000" cy="6350000"/>
          </a:xfrm>
          <a:solidFill>
            <a:srgbClr val="243D42"/>
          </a:solidFill>
        </p:grpSpPr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1C2B26DF-51C4-49D0-1180-FF6D1996C4B3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9" name="Group 10">
            <a:extLst>
              <a:ext uri="{FF2B5EF4-FFF2-40B4-BE49-F238E27FC236}">
                <a16:creationId xmlns:a16="http://schemas.microsoft.com/office/drawing/2014/main" id="{01E8A2F5-A61B-39E0-71DF-329A2CDF5165}"/>
              </a:ext>
            </a:extLst>
          </p:cNvPr>
          <p:cNvGrpSpPr/>
          <p:nvPr/>
        </p:nvGrpSpPr>
        <p:grpSpPr>
          <a:xfrm>
            <a:off x="5756836" y="1872905"/>
            <a:ext cx="661714" cy="661714"/>
            <a:chOff x="0" y="0"/>
            <a:chExt cx="6350000" cy="6350000"/>
          </a:xfrm>
          <a:solidFill>
            <a:srgbClr val="243D42"/>
          </a:solidFill>
        </p:grpSpPr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7498706-C49F-2F2B-1071-B50397827A19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1" name="Group 12">
            <a:extLst>
              <a:ext uri="{FF2B5EF4-FFF2-40B4-BE49-F238E27FC236}">
                <a16:creationId xmlns:a16="http://schemas.microsoft.com/office/drawing/2014/main" id="{46B54678-E21F-55EC-3C4F-DE3A88AE4F40}"/>
              </a:ext>
            </a:extLst>
          </p:cNvPr>
          <p:cNvGrpSpPr/>
          <p:nvPr/>
        </p:nvGrpSpPr>
        <p:grpSpPr>
          <a:xfrm>
            <a:off x="6220247" y="1872905"/>
            <a:ext cx="661714" cy="661714"/>
            <a:chOff x="0" y="0"/>
            <a:chExt cx="6350000" cy="6350000"/>
          </a:xfrm>
          <a:solidFill>
            <a:srgbClr val="243D42"/>
          </a:solidFill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A00D3FDE-DCC1-741A-0C49-0EDCDAA49A70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9" name="Group 16">
            <a:extLst>
              <a:ext uri="{FF2B5EF4-FFF2-40B4-BE49-F238E27FC236}">
                <a16:creationId xmlns:a16="http://schemas.microsoft.com/office/drawing/2014/main" id="{71F33A3F-06DC-15B3-2EF1-424CA8D1DF7E}"/>
              </a:ext>
            </a:extLst>
          </p:cNvPr>
          <p:cNvGrpSpPr/>
          <p:nvPr/>
        </p:nvGrpSpPr>
        <p:grpSpPr>
          <a:xfrm>
            <a:off x="10074421" y="-678289"/>
            <a:ext cx="2348272" cy="2698149"/>
            <a:chOff x="0" y="0"/>
            <a:chExt cx="6350000" cy="6350000"/>
          </a:xfrm>
          <a:solidFill>
            <a:srgbClr val="243D42"/>
          </a:solidFill>
        </p:grpSpPr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5A62D70A-21B0-7C0A-0334-403408D81045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  <p:txBody>
            <a:bodyPr>
              <a:noAutofit/>
            </a:bodyPr>
            <a:lstStyle/>
            <a:p>
              <a:endParaRPr lang="en-IN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9B540D0-9CD2-BB09-3E52-6EBCE6449472}"/>
              </a:ext>
            </a:extLst>
          </p:cNvPr>
          <p:cNvGrpSpPr/>
          <p:nvPr/>
        </p:nvGrpSpPr>
        <p:grpSpPr>
          <a:xfrm>
            <a:off x="0" y="1198767"/>
            <a:ext cx="12221478" cy="4749583"/>
            <a:chOff x="0" y="1198767"/>
            <a:chExt cx="12221478" cy="474958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1CF09DB-5C95-A9D2-E6A0-8CF1E268F8D6}"/>
                </a:ext>
              </a:extLst>
            </p:cNvPr>
            <p:cNvSpPr/>
            <p:nvPr/>
          </p:nvSpPr>
          <p:spPr>
            <a:xfrm>
              <a:off x="9822786" y="2954126"/>
              <a:ext cx="1218104" cy="1218780"/>
            </a:xfrm>
            <a:custGeom>
              <a:avLst/>
              <a:gdLst>
                <a:gd name="connsiteX0" fmla="*/ 0 w 1218104"/>
                <a:gd name="connsiteY0" fmla="*/ 609728 h 1218780"/>
                <a:gd name="connsiteX1" fmla="*/ 609052 w 1218104"/>
                <a:gd name="connsiteY1" fmla="*/ 1218780 h 1218780"/>
                <a:gd name="connsiteX2" fmla="*/ 1218105 w 1218104"/>
                <a:gd name="connsiteY2" fmla="*/ 609728 h 1218780"/>
                <a:gd name="connsiteX3" fmla="*/ 609052 w 1218104"/>
                <a:gd name="connsiteY3" fmla="*/ 0 h 1218780"/>
                <a:gd name="connsiteX4" fmla="*/ 0 w 1218104"/>
                <a:gd name="connsiteY4" fmla="*/ 609728 h 1218780"/>
                <a:gd name="connsiteX5" fmla="*/ 94299 w 1218104"/>
                <a:gd name="connsiteY5" fmla="*/ 609728 h 1218780"/>
                <a:gd name="connsiteX6" fmla="*/ 609390 w 1218104"/>
                <a:gd name="connsiteY6" fmla="*/ 94636 h 1218780"/>
                <a:gd name="connsiteX7" fmla="*/ 1123806 w 1218104"/>
                <a:gd name="connsiteY7" fmla="*/ 609728 h 1218780"/>
                <a:gd name="connsiteX8" fmla="*/ 609390 w 1218104"/>
                <a:gd name="connsiteY8" fmla="*/ 1124144 h 1218780"/>
                <a:gd name="connsiteX9" fmla="*/ 94299 w 1218104"/>
                <a:gd name="connsiteY9" fmla="*/ 609728 h 121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8104" h="1218780">
                  <a:moveTo>
                    <a:pt x="0" y="609728"/>
                  </a:moveTo>
                  <a:cubicBezTo>
                    <a:pt x="0" y="945011"/>
                    <a:pt x="273093" y="1218780"/>
                    <a:pt x="609052" y="1218780"/>
                  </a:cubicBezTo>
                  <a:cubicBezTo>
                    <a:pt x="945011" y="1218780"/>
                    <a:pt x="1218105" y="945011"/>
                    <a:pt x="1218105" y="609728"/>
                  </a:cubicBezTo>
                  <a:cubicBezTo>
                    <a:pt x="1218105" y="274445"/>
                    <a:pt x="945011" y="0"/>
                    <a:pt x="609052" y="0"/>
                  </a:cubicBezTo>
                  <a:cubicBezTo>
                    <a:pt x="273093" y="0"/>
                    <a:pt x="0" y="273769"/>
                    <a:pt x="0" y="609728"/>
                  </a:cubicBezTo>
                  <a:close/>
                  <a:moveTo>
                    <a:pt x="94299" y="609728"/>
                  </a:moveTo>
                  <a:cubicBezTo>
                    <a:pt x="94299" y="325481"/>
                    <a:pt x="325481" y="94636"/>
                    <a:pt x="609390" y="94636"/>
                  </a:cubicBezTo>
                  <a:cubicBezTo>
                    <a:pt x="893299" y="94636"/>
                    <a:pt x="1123806" y="325481"/>
                    <a:pt x="1123806" y="609728"/>
                  </a:cubicBezTo>
                  <a:cubicBezTo>
                    <a:pt x="1123806" y="893975"/>
                    <a:pt x="893299" y="1124144"/>
                    <a:pt x="609390" y="1124144"/>
                  </a:cubicBezTo>
                  <a:cubicBezTo>
                    <a:pt x="325481" y="1124144"/>
                    <a:pt x="94299" y="893299"/>
                    <a:pt x="94299" y="609728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0886682-0B81-7BEA-8A43-C488ABABBAA8}"/>
                </a:ext>
              </a:extLst>
            </p:cNvPr>
            <p:cNvSpPr/>
            <p:nvPr/>
          </p:nvSpPr>
          <p:spPr>
            <a:xfrm>
              <a:off x="9287753" y="2419769"/>
              <a:ext cx="2288170" cy="2287494"/>
            </a:xfrm>
            <a:custGeom>
              <a:avLst/>
              <a:gdLst>
                <a:gd name="connsiteX0" fmla="*/ 0 w 2288170"/>
                <a:gd name="connsiteY0" fmla="*/ 1144085 h 2287494"/>
                <a:gd name="connsiteX1" fmla="*/ 1144085 w 2288170"/>
                <a:gd name="connsiteY1" fmla="*/ 2287494 h 2287494"/>
                <a:gd name="connsiteX2" fmla="*/ 2288170 w 2288170"/>
                <a:gd name="connsiteY2" fmla="*/ 1144085 h 2287494"/>
                <a:gd name="connsiteX3" fmla="*/ 1144085 w 2288170"/>
                <a:gd name="connsiteY3" fmla="*/ 0 h 2287494"/>
                <a:gd name="connsiteX4" fmla="*/ 0 w 2288170"/>
                <a:gd name="connsiteY4" fmla="*/ 1144085 h 2287494"/>
                <a:gd name="connsiteX5" fmla="*/ 47318 w 2288170"/>
                <a:gd name="connsiteY5" fmla="*/ 1144085 h 2287494"/>
                <a:gd name="connsiteX6" fmla="*/ 1144085 w 2288170"/>
                <a:gd name="connsiteY6" fmla="*/ 46980 h 2287494"/>
                <a:gd name="connsiteX7" fmla="*/ 2240853 w 2288170"/>
                <a:gd name="connsiteY7" fmla="*/ 1144085 h 2287494"/>
                <a:gd name="connsiteX8" fmla="*/ 1144085 w 2288170"/>
                <a:gd name="connsiteY8" fmla="*/ 2240852 h 2287494"/>
                <a:gd name="connsiteX9" fmla="*/ 47318 w 2288170"/>
                <a:gd name="connsiteY9" fmla="*/ 1144085 h 22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8170" h="2287494">
                  <a:moveTo>
                    <a:pt x="0" y="1144085"/>
                  </a:moveTo>
                  <a:cubicBezTo>
                    <a:pt x="0" y="1774430"/>
                    <a:pt x="513064" y="2287494"/>
                    <a:pt x="1144085" y="2287494"/>
                  </a:cubicBezTo>
                  <a:cubicBezTo>
                    <a:pt x="1775107" y="2287494"/>
                    <a:pt x="2288170" y="1774430"/>
                    <a:pt x="2288170" y="1144085"/>
                  </a:cubicBezTo>
                  <a:cubicBezTo>
                    <a:pt x="2288170" y="513740"/>
                    <a:pt x="1774431" y="0"/>
                    <a:pt x="1144085" y="0"/>
                  </a:cubicBezTo>
                  <a:cubicBezTo>
                    <a:pt x="513740" y="0"/>
                    <a:pt x="0" y="513064"/>
                    <a:pt x="0" y="1144085"/>
                  </a:cubicBezTo>
                  <a:close/>
                  <a:moveTo>
                    <a:pt x="47318" y="1144085"/>
                  </a:moveTo>
                  <a:cubicBezTo>
                    <a:pt x="47318" y="539427"/>
                    <a:pt x="539089" y="46980"/>
                    <a:pt x="1144085" y="46980"/>
                  </a:cubicBezTo>
                  <a:cubicBezTo>
                    <a:pt x="1749082" y="46980"/>
                    <a:pt x="2240853" y="539427"/>
                    <a:pt x="2240853" y="1144085"/>
                  </a:cubicBezTo>
                  <a:cubicBezTo>
                    <a:pt x="2240853" y="1748743"/>
                    <a:pt x="1749082" y="2240852"/>
                    <a:pt x="1144085" y="2240852"/>
                  </a:cubicBezTo>
                  <a:cubicBezTo>
                    <a:pt x="539089" y="2240852"/>
                    <a:pt x="47318" y="1749081"/>
                    <a:pt x="47318" y="1144085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19DD672-02E7-C1A5-A998-C6286FACFFB2}"/>
                </a:ext>
              </a:extLst>
            </p:cNvPr>
            <p:cNvSpPr/>
            <p:nvPr/>
          </p:nvSpPr>
          <p:spPr>
            <a:xfrm>
              <a:off x="8916982" y="2048660"/>
              <a:ext cx="3028023" cy="3029036"/>
            </a:xfrm>
            <a:custGeom>
              <a:avLst/>
              <a:gdLst>
                <a:gd name="connsiteX0" fmla="*/ 676 w 3028023"/>
                <a:gd name="connsiteY0" fmla="*/ 1510801 h 3029036"/>
                <a:gd name="connsiteX1" fmla="*/ 676 w 3028023"/>
                <a:gd name="connsiteY1" fmla="*/ 1515195 h 3029036"/>
                <a:gd name="connsiteX2" fmla="*/ 3718 w 3028023"/>
                <a:gd name="connsiteY2" fmla="*/ 1617942 h 3029036"/>
                <a:gd name="connsiteX3" fmla="*/ 143307 w 3028023"/>
                <a:gd name="connsiteY3" fmla="*/ 1608479 h 3029036"/>
                <a:gd name="connsiteX4" fmla="*/ 152770 w 3028023"/>
                <a:gd name="connsiteY4" fmla="*/ 1702101 h 3029036"/>
                <a:gd name="connsiteX5" fmla="*/ 14195 w 3028023"/>
                <a:gd name="connsiteY5" fmla="*/ 1720690 h 3029036"/>
                <a:gd name="connsiteX6" fmla="*/ 31771 w 3028023"/>
                <a:gd name="connsiteY6" fmla="*/ 1822424 h 3029036"/>
                <a:gd name="connsiteX7" fmla="*/ 168318 w 3028023"/>
                <a:gd name="connsiteY7" fmla="*/ 1794371 h 3029036"/>
                <a:gd name="connsiteX8" fmla="*/ 190625 w 3028023"/>
                <a:gd name="connsiteY8" fmla="*/ 1885290 h 3029036"/>
                <a:gd name="connsiteX9" fmla="*/ 56106 w 3028023"/>
                <a:gd name="connsiteY9" fmla="*/ 1923145 h 3029036"/>
                <a:gd name="connsiteX10" fmla="*/ 87201 w 3028023"/>
                <a:gd name="connsiteY10" fmla="*/ 2021499 h 3029036"/>
                <a:gd name="connsiteX11" fmla="*/ 219354 w 3028023"/>
                <a:gd name="connsiteY11" fmla="*/ 1974857 h 3029036"/>
                <a:gd name="connsiteX12" fmla="*/ 253490 w 3028023"/>
                <a:gd name="connsiteY12" fmla="*/ 2062057 h 3029036"/>
                <a:gd name="connsiteX13" fmla="*/ 125055 w 3028023"/>
                <a:gd name="connsiteY13" fmla="*/ 2117487 h 3029036"/>
                <a:gd name="connsiteX14" fmla="*/ 170007 w 3028023"/>
                <a:gd name="connsiteY14" fmla="*/ 2211109 h 3029036"/>
                <a:gd name="connsiteX15" fmla="*/ 294048 w 3028023"/>
                <a:gd name="connsiteY15" fmla="*/ 2146892 h 3029036"/>
                <a:gd name="connsiteX16" fmla="*/ 340015 w 3028023"/>
                <a:gd name="connsiteY16" fmla="*/ 2228684 h 3029036"/>
                <a:gd name="connsiteX17" fmla="*/ 220368 w 3028023"/>
                <a:gd name="connsiteY17" fmla="*/ 2301690 h 3029036"/>
                <a:gd name="connsiteX18" fmla="*/ 277149 w 3028023"/>
                <a:gd name="connsiteY18" fmla="*/ 2388214 h 3029036"/>
                <a:gd name="connsiteX19" fmla="*/ 391727 w 3028023"/>
                <a:gd name="connsiteY19" fmla="*/ 2307097 h 3029036"/>
                <a:gd name="connsiteX20" fmla="*/ 448509 w 3028023"/>
                <a:gd name="connsiteY20" fmla="*/ 2381793 h 3029036"/>
                <a:gd name="connsiteX21" fmla="*/ 339339 w 3028023"/>
                <a:gd name="connsiteY21" fmla="*/ 2470345 h 3029036"/>
                <a:gd name="connsiteX22" fmla="*/ 407274 w 3028023"/>
                <a:gd name="connsiteY22" fmla="*/ 2548420 h 3029036"/>
                <a:gd name="connsiteX23" fmla="*/ 510022 w 3028023"/>
                <a:gd name="connsiteY23" fmla="*/ 2452432 h 3029036"/>
                <a:gd name="connsiteX24" fmla="*/ 576268 w 3028023"/>
                <a:gd name="connsiteY24" fmla="*/ 2518677 h 3029036"/>
                <a:gd name="connsiteX25" fmla="*/ 480956 w 3028023"/>
                <a:gd name="connsiteY25" fmla="*/ 2621425 h 3029036"/>
                <a:gd name="connsiteX26" fmla="*/ 559030 w 3028023"/>
                <a:gd name="connsiteY26" fmla="*/ 2689360 h 3029036"/>
                <a:gd name="connsiteX27" fmla="*/ 647583 w 3028023"/>
                <a:gd name="connsiteY27" fmla="*/ 2580191 h 3029036"/>
                <a:gd name="connsiteX28" fmla="*/ 722278 w 3028023"/>
                <a:gd name="connsiteY28" fmla="*/ 2636972 h 3029036"/>
                <a:gd name="connsiteX29" fmla="*/ 641161 w 3028023"/>
                <a:gd name="connsiteY29" fmla="*/ 2751550 h 3029036"/>
                <a:gd name="connsiteX30" fmla="*/ 727348 w 3028023"/>
                <a:gd name="connsiteY30" fmla="*/ 2808332 h 3029036"/>
                <a:gd name="connsiteX31" fmla="*/ 800353 w 3028023"/>
                <a:gd name="connsiteY31" fmla="*/ 2688684 h 3029036"/>
                <a:gd name="connsiteX32" fmla="*/ 882146 w 3028023"/>
                <a:gd name="connsiteY32" fmla="*/ 2734651 h 3029036"/>
                <a:gd name="connsiteX33" fmla="*/ 817252 w 3028023"/>
                <a:gd name="connsiteY33" fmla="*/ 2858692 h 3029036"/>
                <a:gd name="connsiteX34" fmla="*/ 910874 w 3028023"/>
                <a:gd name="connsiteY34" fmla="*/ 2903644 h 3029036"/>
                <a:gd name="connsiteX35" fmla="*/ 966980 w 3028023"/>
                <a:gd name="connsiteY35" fmla="*/ 2775209 h 3029036"/>
                <a:gd name="connsiteX36" fmla="*/ 1053505 w 3028023"/>
                <a:gd name="connsiteY36" fmla="*/ 2809346 h 3029036"/>
                <a:gd name="connsiteX37" fmla="*/ 1006863 w 3028023"/>
                <a:gd name="connsiteY37" fmla="*/ 2941499 h 3029036"/>
                <a:gd name="connsiteX38" fmla="*/ 1105217 w 3028023"/>
                <a:gd name="connsiteY38" fmla="*/ 2972593 h 3029036"/>
                <a:gd name="connsiteX39" fmla="*/ 1143409 w 3028023"/>
                <a:gd name="connsiteY39" fmla="*/ 2838075 h 3029036"/>
                <a:gd name="connsiteX40" fmla="*/ 1234328 w 3028023"/>
                <a:gd name="connsiteY40" fmla="*/ 2860382 h 3029036"/>
                <a:gd name="connsiteX41" fmla="*/ 1205599 w 3028023"/>
                <a:gd name="connsiteY41" fmla="*/ 2996928 h 3029036"/>
                <a:gd name="connsiteX42" fmla="*/ 1307671 w 3028023"/>
                <a:gd name="connsiteY42" fmla="*/ 3014504 h 3029036"/>
                <a:gd name="connsiteX43" fmla="*/ 1326260 w 3028023"/>
                <a:gd name="connsiteY43" fmla="*/ 2876267 h 3029036"/>
                <a:gd name="connsiteX44" fmla="*/ 1419883 w 3028023"/>
                <a:gd name="connsiteY44" fmla="*/ 2885731 h 3029036"/>
                <a:gd name="connsiteX45" fmla="*/ 1410419 w 3028023"/>
                <a:gd name="connsiteY45" fmla="*/ 3025319 h 3029036"/>
                <a:gd name="connsiteX46" fmla="*/ 1513167 w 3028023"/>
                <a:gd name="connsiteY46" fmla="*/ 3029037 h 3029036"/>
                <a:gd name="connsiteX47" fmla="*/ 1513167 w 3028023"/>
                <a:gd name="connsiteY47" fmla="*/ 2889449 h 3029036"/>
                <a:gd name="connsiteX48" fmla="*/ 1514519 w 3028023"/>
                <a:gd name="connsiteY48" fmla="*/ 2889449 h 3029036"/>
                <a:gd name="connsiteX49" fmla="*/ 1607465 w 3028023"/>
                <a:gd name="connsiteY49" fmla="*/ 2885731 h 3029036"/>
                <a:gd name="connsiteX50" fmla="*/ 1616929 w 3028023"/>
                <a:gd name="connsiteY50" fmla="*/ 3025319 h 3029036"/>
                <a:gd name="connsiteX51" fmla="*/ 1719677 w 3028023"/>
                <a:gd name="connsiteY51" fmla="*/ 3015180 h 3029036"/>
                <a:gd name="connsiteX52" fmla="*/ 1701088 w 3028023"/>
                <a:gd name="connsiteY52" fmla="*/ 2876267 h 3029036"/>
                <a:gd name="connsiteX53" fmla="*/ 1793358 w 3028023"/>
                <a:gd name="connsiteY53" fmla="*/ 2860720 h 3029036"/>
                <a:gd name="connsiteX54" fmla="*/ 1821411 w 3028023"/>
                <a:gd name="connsiteY54" fmla="*/ 2997942 h 3029036"/>
                <a:gd name="connsiteX55" fmla="*/ 1921793 w 3028023"/>
                <a:gd name="connsiteY55" fmla="*/ 2973607 h 3029036"/>
                <a:gd name="connsiteX56" fmla="*/ 1884276 w 3028023"/>
                <a:gd name="connsiteY56" fmla="*/ 2838412 h 3029036"/>
                <a:gd name="connsiteX57" fmla="*/ 1974181 w 3028023"/>
                <a:gd name="connsiteY57" fmla="*/ 2810360 h 3029036"/>
                <a:gd name="connsiteX58" fmla="*/ 2020823 w 3028023"/>
                <a:gd name="connsiteY58" fmla="*/ 2942512 h 3029036"/>
                <a:gd name="connsiteX59" fmla="*/ 2116811 w 3028023"/>
                <a:gd name="connsiteY59" fmla="*/ 2904320 h 3029036"/>
                <a:gd name="connsiteX60" fmla="*/ 2061382 w 3028023"/>
                <a:gd name="connsiteY60" fmla="*/ 2775885 h 3029036"/>
                <a:gd name="connsiteX61" fmla="*/ 2146216 w 3028023"/>
                <a:gd name="connsiteY61" fmla="*/ 2735327 h 3029036"/>
                <a:gd name="connsiteX62" fmla="*/ 2210434 w 3028023"/>
                <a:gd name="connsiteY62" fmla="*/ 2860044 h 3029036"/>
                <a:gd name="connsiteX63" fmla="*/ 2300676 w 3028023"/>
                <a:gd name="connsiteY63" fmla="*/ 2809008 h 3029036"/>
                <a:gd name="connsiteX64" fmla="*/ 2227672 w 3028023"/>
                <a:gd name="connsiteY64" fmla="*/ 2689360 h 3029036"/>
                <a:gd name="connsiteX65" fmla="*/ 2306084 w 3028023"/>
                <a:gd name="connsiteY65" fmla="*/ 2637649 h 3029036"/>
                <a:gd name="connsiteX66" fmla="*/ 2387200 w 3028023"/>
                <a:gd name="connsiteY66" fmla="*/ 2752226 h 3029036"/>
                <a:gd name="connsiteX67" fmla="*/ 2469332 w 3028023"/>
                <a:gd name="connsiteY67" fmla="*/ 2690036 h 3029036"/>
                <a:gd name="connsiteX68" fmla="*/ 2380780 w 3028023"/>
                <a:gd name="connsiteY68" fmla="*/ 2580867 h 3029036"/>
                <a:gd name="connsiteX69" fmla="*/ 2451080 w 3028023"/>
                <a:gd name="connsiteY69" fmla="*/ 2519015 h 3029036"/>
                <a:gd name="connsiteX70" fmla="*/ 2547068 w 3028023"/>
                <a:gd name="connsiteY70" fmla="*/ 2621763 h 3029036"/>
                <a:gd name="connsiteX71" fmla="*/ 2620074 w 3028023"/>
                <a:gd name="connsiteY71" fmla="*/ 2548758 h 3029036"/>
                <a:gd name="connsiteX72" fmla="*/ 2518002 w 3028023"/>
                <a:gd name="connsiteY72" fmla="*/ 2452770 h 3029036"/>
                <a:gd name="connsiteX73" fmla="*/ 2579853 w 3028023"/>
                <a:gd name="connsiteY73" fmla="*/ 2382468 h 3029036"/>
                <a:gd name="connsiteX74" fmla="*/ 2688347 w 3028023"/>
                <a:gd name="connsiteY74" fmla="*/ 2471021 h 3029036"/>
                <a:gd name="connsiteX75" fmla="*/ 2750536 w 3028023"/>
                <a:gd name="connsiteY75" fmla="*/ 2388890 h 3029036"/>
                <a:gd name="connsiteX76" fmla="*/ 2636297 w 3028023"/>
                <a:gd name="connsiteY76" fmla="*/ 2307773 h 3029036"/>
                <a:gd name="connsiteX77" fmla="*/ 2688009 w 3028023"/>
                <a:gd name="connsiteY77" fmla="*/ 2229699 h 3029036"/>
                <a:gd name="connsiteX78" fmla="*/ 2807656 w 3028023"/>
                <a:gd name="connsiteY78" fmla="*/ 2302704 h 3029036"/>
                <a:gd name="connsiteX79" fmla="*/ 2858017 w 3028023"/>
                <a:gd name="connsiteY79" fmla="*/ 2212461 h 3029036"/>
                <a:gd name="connsiteX80" fmla="*/ 2733299 w 3028023"/>
                <a:gd name="connsiteY80" fmla="*/ 2148244 h 3029036"/>
                <a:gd name="connsiteX81" fmla="*/ 2773857 w 3028023"/>
                <a:gd name="connsiteY81" fmla="*/ 2063409 h 3029036"/>
                <a:gd name="connsiteX82" fmla="*/ 2902293 w 3028023"/>
                <a:gd name="connsiteY82" fmla="*/ 2119515 h 3029036"/>
                <a:gd name="connsiteX83" fmla="*/ 2940486 w 3028023"/>
                <a:gd name="connsiteY83" fmla="*/ 2023526 h 3029036"/>
                <a:gd name="connsiteX84" fmla="*/ 2809008 w 3028023"/>
                <a:gd name="connsiteY84" fmla="*/ 1976208 h 3029036"/>
                <a:gd name="connsiteX85" fmla="*/ 2837062 w 3028023"/>
                <a:gd name="connsiteY85" fmla="*/ 1886980 h 3029036"/>
                <a:gd name="connsiteX86" fmla="*/ 2972256 w 3028023"/>
                <a:gd name="connsiteY86" fmla="*/ 1924834 h 3029036"/>
                <a:gd name="connsiteX87" fmla="*/ 2996591 w 3028023"/>
                <a:gd name="connsiteY87" fmla="*/ 1824452 h 3029036"/>
                <a:gd name="connsiteX88" fmla="*/ 2860045 w 3028023"/>
                <a:gd name="connsiteY88" fmla="*/ 1795723 h 3029036"/>
                <a:gd name="connsiteX89" fmla="*/ 2875592 w 3028023"/>
                <a:gd name="connsiteY89" fmla="*/ 1703453 h 3029036"/>
                <a:gd name="connsiteX90" fmla="*/ 3013828 w 3028023"/>
                <a:gd name="connsiteY90" fmla="*/ 1722042 h 3029036"/>
                <a:gd name="connsiteX91" fmla="*/ 3024306 w 3028023"/>
                <a:gd name="connsiteY91" fmla="*/ 1619294 h 3029036"/>
                <a:gd name="connsiteX92" fmla="*/ 2884717 w 3028023"/>
                <a:gd name="connsiteY92" fmla="*/ 1609831 h 3029036"/>
                <a:gd name="connsiteX93" fmla="*/ 2887083 w 3028023"/>
                <a:gd name="connsiteY93" fmla="*/ 1558119 h 3029036"/>
                <a:gd name="connsiteX94" fmla="*/ 2888435 w 3028023"/>
                <a:gd name="connsiteY94" fmla="*/ 1515870 h 3029036"/>
                <a:gd name="connsiteX95" fmla="*/ 3028024 w 3028023"/>
                <a:gd name="connsiteY95" fmla="*/ 1515870 h 3029036"/>
                <a:gd name="connsiteX96" fmla="*/ 3028024 w 3028023"/>
                <a:gd name="connsiteY96" fmla="*/ 1514519 h 3029036"/>
                <a:gd name="connsiteX97" fmla="*/ 3027347 w 3028023"/>
                <a:gd name="connsiteY97" fmla="*/ 1470242 h 3029036"/>
                <a:gd name="connsiteX98" fmla="*/ 3024982 w 3028023"/>
                <a:gd name="connsiteY98" fmla="*/ 1412785 h 3029036"/>
                <a:gd name="connsiteX99" fmla="*/ 2885394 w 3028023"/>
                <a:gd name="connsiteY99" fmla="*/ 1422248 h 3029036"/>
                <a:gd name="connsiteX100" fmla="*/ 2875930 w 3028023"/>
                <a:gd name="connsiteY100" fmla="*/ 1328626 h 3029036"/>
                <a:gd name="connsiteX101" fmla="*/ 3014166 w 3028023"/>
                <a:gd name="connsiteY101" fmla="*/ 1310037 h 3029036"/>
                <a:gd name="connsiteX102" fmla="*/ 2996591 w 3028023"/>
                <a:gd name="connsiteY102" fmla="*/ 1208303 h 3029036"/>
                <a:gd name="connsiteX103" fmla="*/ 2860045 w 3028023"/>
                <a:gd name="connsiteY103" fmla="*/ 1236355 h 3029036"/>
                <a:gd name="connsiteX104" fmla="*/ 2837737 w 3028023"/>
                <a:gd name="connsiteY104" fmla="*/ 1145437 h 3029036"/>
                <a:gd name="connsiteX105" fmla="*/ 2972256 w 3028023"/>
                <a:gd name="connsiteY105" fmla="*/ 1107582 h 3029036"/>
                <a:gd name="connsiteX106" fmla="*/ 2941161 w 3028023"/>
                <a:gd name="connsiteY106" fmla="*/ 1009228 h 3029036"/>
                <a:gd name="connsiteX107" fmla="*/ 2809684 w 3028023"/>
                <a:gd name="connsiteY107" fmla="*/ 1055871 h 3029036"/>
                <a:gd name="connsiteX108" fmla="*/ 2775548 w 3028023"/>
                <a:gd name="connsiteY108" fmla="*/ 968670 h 3029036"/>
                <a:gd name="connsiteX109" fmla="*/ 2903982 w 3028023"/>
                <a:gd name="connsiteY109" fmla="*/ 913240 h 3029036"/>
                <a:gd name="connsiteX110" fmla="*/ 2859031 w 3028023"/>
                <a:gd name="connsiteY110" fmla="*/ 819618 h 3029036"/>
                <a:gd name="connsiteX111" fmla="*/ 2734989 w 3028023"/>
                <a:gd name="connsiteY111" fmla="*/ 883835 h 3029036"/>
                <a:gd name="connsiteX112" fmla="*/ 2688685 w 3028023"/>
                <a:gd name="connsiteY112" fmla="*/ 801704 h 3029036"/>
                <a:gd name="connsiteX113" fmla="*/ 2808333 w 3028023"/>
                <a:gd name="connsiteY113" fmla="*/ 729375 h 3029036"/>
                <a:gd name="connsiteX114" fmla="*/ 2751551 w 3028023"/>
                <a:gd name="connsiteY114" fmla="*/ 642851 h 3029036"/>
                <a:gd name="connsiteX115" fmla="*/ 2636973 w 3028023"/>
                <a:gd name="connsiteY115" fmla="*/ 723968 h 3029036"/>
                <a:gd name="connsiteX116" fmla="*/ 2580192 w 3028023"/>
                <a:gd name="connsiteY116" fmla="*/ 649273 h 3029036"/>
                <a:gd name="connsiteX117" fmla="*/ 2689361 w 3028023"/>
                <a:gd name="connsiteY117" fmla="*/ 560720 h 3029036"/>
                <a:gd name="connsiteX118" fmla="*/ 2621426 w 3028023"/>
                <a:gd name="connsiteY118" fmla="*/ 482645 h 3029036"/>
                <a:gd name="connsiteX119" fmla="*/ 2519016 w 3028023"/>
                <a:gd name="connsiteY119" fmla="*/ 577957 h 3029036"/>
                <a:gd name="connsiteX120" fmla="*/ 2452433 w 3028023"/>
                <a:gd name="connsiteY120" fmla="*/ 511712 h 3029036"/>
                <a:gd name="connsiteX121" fmla="*/ 2548421 w 3028023"/>
                <a:gd name="connsiteY121" fmla="*/ 408964 h 3029036"/>
                <a:gd name="connsiteX122" fmla="*/ 2470346 w 3028023"/>
                <a:gd name="connsiteY122" fmla="*/ 341029 h 3029036"/>
                <a:gd name="connsiteX123" fmla="*/ 2381793 w 3028023"/>
                <a:gd name="connsiteY123" fmla="*/ 449522 h 3029036"/>
                <a:gd name="connsiteX124" fmla="*/ 2307098 w 3028023"/>
                <a:gd name="connsiteY124" fmla="*/ 393417 h 3029036"/>
                <a:gd name="connsiteX125" fmla="*/ 2388891 w 3028023"/>
                <a:gd name="connsiteY125" fmla="*/ 278839 h 3029036"/>
                <a:gd name="connsiteX126" fmla="*/ 2302366 w 3028023"/>
                <a:gd name="connsiteY126" fmla="*/ 222057 h 3029036"/>
                <a:gd name="connsiteX127" fmla="*/ 2229361 w 3028023"/>
                <a:gd name="connsiteY127" fmla="*/ 341029 h 3029036"/>
                <a:gd name="connsiteX128" fmla="*/ 2147568 w 3028023"/>
                <a:gd name="connsiteY128" fmla="*/ 295400 h 3029036"/>
                <a:gd name="connsiteX129" fmla="*/ 2212462 w 3028023"/>
                <a:gd name="connsiteY129" fmla="*/ 170683 h 3029036"/>
                <a:gd name="connsiteX130" fmla="*/ 2118839 w 3028023"/>
                <a:gd name="connsiteY130" fmla="*/ 126407 h 3029036"/>
                <a:gd name="connsiteX131" fmla="*/ 2063409 w 3028023"/>
                <a:gd name="connsiteY131" fmla="*/ 254842 h 3029036"/>
                <a:gd name="connsiteX132" fmla="*/ 1976209 w 3028023"/>
                <a:gd name="connsiteY132" fmla="*/ 220029 h 3029036"/>
                <a:gd name="connsiteX133" fmla="*/ 2022851 w 3028023"/>
                <a:gd name="connsiteY133" fmla="*/ 87877 h 3029036"/>
                <a:gd name="connsiteX134" fmla="*/ 1924497 w 3028023"/>
                <a:gd name="connsiteY134" fmla="*/ 56782 h 3029036"/>
                <a:gd name="connsiteX135" fmla="*/ 1886980 w 3028023"/>
                <a:gd name="connsiteY135" fmla="*/ 191300 h 3029036"/>
                <a:gd name="connsiteX136" fmla="*/ 1795386 w 3028023"/>
                <a:gd name="connsiteY136" fmla="*/ 168993 h 3029036"/>
                <a:gd name="connsiteX137" fmla="*/ 1824115 w 3028023"/>
                <a:gd name="connsiteY137" fmla="*/ 32447 h 3029036"/>
                <a:gd name="connsiteX138" fmla="*/ 1722381 w 3028023"/>
                <a:gd name="connsiteY138" fmla="*/ 14533 h 3029036"/>
                <a:gd name="connsiteX139" fmla="*/ 1703115 w 3028023"/>
                <a:gd name="connsiteY139" fmla="*/ 153446 h 3029036"/>
                <a:gd name="connsiteX140" fmla="*/ 1609493 w 3028023"/>
                <a:gd name="connsiteY140" fmla="*/ 143306 h 3029036"/>
                <a:gd name="connsiteX141" fmla="*/ 1619633 w 3028023"/>
                <a:gd name="connsiteY141" fmla="*/ 3718 h 3029036"/>
                <a:gd name="connsiteX142" fmla="*/ 1516209 w 3028023"/>
                <a:gd name="connsiteY142" fmla="*/ 0 h 3029036"/>
                <a:gd name="connsiteX143" fmla="*/ 1516209 w 3028023"/>
                <a:gd name="connsiteY143" fmla="*/ 139588 h 3029036"/>
                <a:gd name="connsiteX144" fmla="*/ 1513843 w 3028023"/>
                <a:gd name="connsiteY144" fmla="*/ 139588 h 3029036"/>
                <a:gd name="connsiteX145" fmla="*/ 1422925 w 3028023"/>
                <a:gd name="connsiteY145" fmla="*/ 142630 h 3029036"/>
                <a:gd name="connsiteX146" fmla="*/ 1413461 w 3028023"/>
                <a:gd name="connsiteY146" fmla="*/ 3718 h 3029036"/>
                <a:gd name="connsiteX147" fmla="*/ 1310713 w 3028023"/>
                <a:gd name="connsiteY147" fmla="*/ 13857 h 3029036"/>
                <a:gd name="connsiteX148" fmla="*/ 1329302 w 3028023"/>
                <a:gd name="connsiteY148" fmla="*/ 152432 h 3029036"/>
                <a:gd name="connsiteX149" fmla="*/ 1236356 w 3028023"/>
                <a:gd name="connsiteY149" fmla="*/ 167979 h 3029036"/>
                <a:gd name="connsiteX150" fmla="*/ 1208303 w 3028023"/>
                <a:gd name="connsiteY150" fmla="*/ 31433 h 3029036"/>
                <a:gd name="connsiteX151" fmla="*/ 1107921 w 3028023"/>
                <a:gd name="connsiteY151" fmla="*/ 55768 h 3029036"/>
                <a:gd name="connsiteX152" fmla="*/ 1145437 w 3028023"/>
                <a:gd name="connsiteY152" fmla="*/ 190287 h 3029036"/>
                <a:gd name="connsiteX153" fmla="*/ 1056209 w 3028023"/>
                <a:gd name="connsiteY153" fmla="*/ 218339 h 3029036"/>
                <a:gd name="connsiteX154" fmla="*/ 1009567 w 3028023"/>
                <a:gd name="connsiteY154" fmla="*/ 86187 h 3029036"/>
                <a:gd name="connsiteX155" fmla="*/ 912903 w 3028023"/>
                <a:gd name="connsiteY155" fmla="*/ 124379 h 3029036"/>
                <a:gd name="connsiteX156" fmla="*/ 968332 w 3028023"/>
                <a:gd name="connsiteY156" fmla="*/ 252814 h 3029036"/>
                <a:gd name="connsiteX157" fmla="*/ 883497 w 3028023"/>
                <a:gd name="connsiteY157" fmla="*/ 293372 h 3029036"/>
                <a:gd name="connsiteX158" fmla="*/ 819280 w 3028023"/>
                <a:gd name="connsiteY158" fmla="*/ 168655 h 3029036"/>
                <a:gd name="connsiteX159" fmla="*/ 729038 w 3028023"/>
                <a:gd name="connsiteY159" fmla="*/ 219015 h 3029036"/>
                <a:gd name="connsiteX160" fmla="*/ 802043 w 3028023"/>
                <a:gd name="connsiteY160" fmla="*/ 338663 h 3029036"/>
                <a:gd name="connsiteX161" fmla="*/ 723630 w 3028023"/>
                <a:gd name="connsiteY161" fmla="*/ 390375 h 3029036"/>
                <a:gd name="connsiteX162" fmla="*/ 643189 w 3028023"/>
                <a:gd name="connsiteY162" fmla="*/ 275797 h 3029036"/>
                <a:gd name="connsiteX163" fmla="*/ 560382 w 3028023"/>
                <a:gd name="connsiteY163" fmla="*/ 337987 h 3029036"/>
                <a:gd name="connsiteX164" fmla="*/ 648935 w 3028023"/>
                <a:gd name="connsiteY164" fmla="*/ 447156 h 3029036"/>
                <a:gd name="connsiteX165" fmla="*/ 578634 w 3028023"/>
                <a:gd name="connsiteY165" fmla="*/ 509008 h 3029036"/>
                <a:gd name="connsiteX166" fmla="*/ 482645 w 3028023"/>
                <a:gd name="connsiteY166" fmla="*/ 406260 h 3029036"/>
                <a:gd name="connsiteX167" fmla="*/ 409640 w 3028023"/>
                <a:gd name="connsiteY167" fmla="*/ 479265 h 3029036"/>
                <a:gd name="connsiteX168" fmla="*/ 512050 w 3028023"/>
                <a:gd name="connsiteY168" fmla="*/ 575253 h 3029036"/>
                <a:gd name="connsiteX169" fmla="*/ 450199 w 3028023"/>
                <a:gd name="connsiteY169" fmla="*/ 645555 h 3029036"/>
                <a:gd name="connsiteX170" fmla="*/ 341029 w 3028023"/>
                <a:gd name="connsiteY170" fmla="*/ 557002 h 3029036"/>
                <a:gd name="connsiteX171" fmla="*/ 278839 w 3028023"/>
                <a:gd name="connsiteY171" fmla="*/ 639471 h 3029036"/>
                <a:gd name="connsiteX172" fmla="*/ 393417 w 3028023"/>
                <a:gd name="connsiteY172" fmla="*/ 720588 h 3029036"/>
                <a:gd name="connsiteX173" fmla="*/ 341029 w 3028023"/>
                <a:gd name="connsiteY173" fmla="*/ 798663 h 3029036"/>
                <a:gd name="connsiteX174" fmla="*/ 222058 w 3028023"/>
                <a:gd name="connsiteY174" fmla="*/ 725657 h 3029036"/>
                <a:gd name="connsiteX175" fmla="*/ 171021 w 3028023"/>
                <a:gd name="connsiteY175" fmla="*/ 815562 h 3029036"/>
                <a:gd name="connsiteX176" fmla="*/ 295063 w 3028023"/>
                <a:gd name="connsiteY176" fmla="*/ 880455 h 3029036"/>
                <a:gd name="connsiteX177" fmla="*/ 254504 w 3028023"/>
                <a:gd name="connsiteY177" fmla="*/ 965290 h 3029036"/>
                <a:gd name="connsiteX178" fmla="*/ 126069 w 3028023"/>
                <a:gd name="connsiteY178" fmla="*/ 908508 h 3029036"/>
                <a:gd name="connsiteX179" fmla="*/ 87877 w 3028023"/>
                <a:gd name="connsiteY179" fmla="*/ 1004497 h 3029036"/>
                <a:gd name="connsiteX180" fmla="*/ 220030 w 3028023"/>
                <a:gd name="connsiteY180" fmla="*/ 1051815 h 3029036"/>
                <a:gd name="connsiteX181" fmla="*/ 191301 w 3028023"/>
                <a:gd name="connsiteY181" fmla="*/ 1141719 h 3029036"/>
                <a:gd name="connsiteX182" fmla="*/ 56782 w 3028023"/>
                <a:gd name="connsiteY182" fmla="*/ 1103189 h 3029036"/>
                <a:gd name="connsiteX183" fmla="*/ 31771 w 3028023"/>
                <a:gd name="connsiteY183" fmla="*/ 1204247 h 3029036"/>
                <a:gd name="connsiteX184" fmla="*/ 168993 w 3028023"/>
                <a:gd name="connsiteY184" fmla="*/ 1232976 h 3029036"/>
                <a:gd name="connsiteX185" fmla="*/ 152770 w 3028023"/>
                <a:gd name="connsiteY185" fmla="*/ 1325246 h 3029036"/>
                <a:gd name="connsiteX186" fmla="*/ 14195 w 3028023"/>
                <a:gd name="connsiteY186" fmla="*/ 1305981 h 3029036"/>
                <a:gd name="connsiteX187" fmla="*/ 3718 w 3028023"/>
                <a:gd name="connsiteY187" fmla="*/ 1408729 h 3029036"/>
                <a:gd name="connsiteX188" fmla="*/ 142630 w 3028023"/>
                <a:gd name="connsiteY188" fmla="*/ 1418868 h 3029036"/>
                <a:gd name="connsiteX189" fmla="*/ 138913 w 3028023"/>
                <a:gd name="connsiteY189" fmla="*/ 1512491 h 3029036"/>
                <a:gd name="connsiteX190" fmla="*/ 0 w 3028023"/>
                <a:gd name="connsiteY190" fmla="*/ 1511815 h 3029036"/>
                <a:gd name="connsiteX191" fmla="*/ 270728 w 3028023"/>
                <a:gd name="connsiteY191" fmla="*/ 1515195 h 3029036"/>
                <a:gd name="connsiteX192" fmla="*/ 1515195 w 3028023"/>
                <a:gd name="connsiteY192" fmla="*/ 270727 h 3029036"/>
                <a:gd name="connsiteX193" fmla="*/ 2758986 w 3028023"/>
                <a:gd name="connsiteY193" fmla="*/ 1515195 h 3029036"/>
                <a:gd name="connsiteX194" fmla="*/ 1515195 w 3028023"/>
                <a:gd name="connsiteY194" fmla="*/ 2758986 h 3029036"/>
                <a:gd name="connsiteX195" fmla="*/ 270728 w 3028023"/>
                <a:gd name="connsiteY195" fmla="*/ 1515195 h 302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3028023" h="3029036">
                  <a:moveTo>
                    <a:pt x="676" y="1510801"/>
                  </a:moveTo>
                  <a:lnTo>
                    <a:pt x="676" y="1515195"/>
                  </a:lnTo>
                  <a:cubicBezTo>
                    <a:pt x="676" y="1549331"/>
                    <a:pt x="1352" y="1583806"/>
                    <a:pt x="3718" y="1617942"/>
                  </a:cubicBezTo>
                  <a:lnTo>
                    <a:pt x="143307" y="1608479"/>
                  </a:lnTo>
                  <a:cubicBezTo>
                    <a:pt x="145334" y="1639574"/>
                    <a:pt x="149052" y="1670668"/>
                    <a:pt x="152770" y="1702101"/>
                  </a:cubicBezTo>
                  <a:lnTo>
                    <a:pt x="14195" y="1720690"/>
                  </a:lnTo>
                  <a:cubicBezTo>
                    <a:pt x="18589" y="1754827"/>
                    <a:pt x="24673" y="1789302"/>
                    <a:pt x="31771" y="1822424"/>
                  </a:cubicBezTo>
                  <a:lnTo>
                    <a:pt x="168318" y="1794371"/>
                  </a:lnTo>
                  <a:cubicBezTo>
                    <a:pt x="175077" y="1825466"/>
                    <a:pt x="182513" y="1855547"/>
                    <a:pt x="190625" y="1885290"/>
                  </a:cubicBezTo>
                  <a:lnTo>
                    <a:pt x="56106" y="1923145"/>
                  </a:lnTo>
                  <a:cubicBezTo>
                    <a:pt x="65570" y="1956267"/>
                    <a:pt x="76047" y="1989390"/>
                    <a:pt x="87201" y="2021499"/>
                  </a:cubicBezTo>
                  <a:lnTo>
                    <a:pt x="219354" y="1974857"/>
                  </a:lnTo>
                  <a:cubicBezTo>
                    <a:pt x="229831" y="2004261"/>
                    <a:pt x="241323" y="2033328"/>
                    <a:pt x="253490" y="2062057"/>
                  </a:cubicBezTo>
                  <a:lnTo>
                    <a:pt x="125055" y="2117487"/>
                  </a:lnTo>
                  <a:cubicBezTo>
                    <a:pt x="138913" y="2149258"/>
                    <a:pt x="153784" y="2180352"/>
                    <a:pt x="170007" y="2211109"/>
                  </a:cubicBezTo>
                  <a:lnTo>
                    <a:pt x="294048" y="2146892"/>
                  </a:lnTo>
                  <a:cubicBezTo>
                    <a:pt x="308244" y="2174269"/>
                    <a:pt x="324130" y="2201646"/>
                    <a:pt x="340015" y="2228684"/>
                  </a:cubicBezTo>
                  <a:lnTo>
                    <a:pt x="220368" y="2301690"/>
                  </a:lnTo>
                  <a:cubicBezTo>
                    <a:pt x="238619" y="2331095"/>
                    <a:pt x="257208" y="2360161"/>
                    <a:pt x="277149" y="2388214"/>
                  </a:cubicBezTo>
                  <a:lnTo>
                    <a:pt x="391727" y="2307097"/>
                  </a:lnTo>
                  <a:cubicBezTo>
                    <a:pt x="409640" y="2332784"/>
                    <a:pt x="428568" y="2357458"/>
                    <a:pt x="448509" y="2381793"/>
                  </a:cubicBezTo>
                  <a:lnTo>
                    <a:pt x="339339" y="2470345"/>
                  </a:lnTo>
                  <a:cubicBezTo>
                    <a:pt x="361308" y="2496370"/>
                    <a:pt x="384291" y="2522733"/>
                    <a:pt x="407274" y="2548420"/>
                  </a:cubicBezTo>
                  <a:lnTo>
                    <a:pt x="510022" y="2452432"/>
                  </a:lnTo>
                  <a:cubicBezTo>
                    <a:pt x="531315" y="2475415"/>
                    <a:pt x="553623" y="2497384"/>
                    <a:pt x="576268" y="2518677"/>
                  </a:cubicBezTo>
                  <a:lnTo>
                    <a:pt x="480956" y="2621425"/>
                  </a:lnTo>
                  <a:cubicBezTo>
                    <a:pt x="505966" y="2644408"/>
                    <a:pt x="531991" y="2667391"/>
                    <a:pt x="559030" y="2689360"/>
                  </a:cubicBezTo>
                  <a:lnTo>
                    <a:pt x="647583" y="2580191"/>
                  </a:lnTo>
                  <a:cubicBezTo>
                    <a:pt x="671242" y="2600132"/>
                    <a:pt x="696929" y="2618721"/>
                    <a:pt x="722278" y="2636972"/>
                  </a:cubicBezTo>
                  <a:lnTo>
                    <a:pt x="641161" y="2751550"/>
                  </a:lnTo>
                  <a:cubicBezTo>
                    <a:pt x="668538" y="2771491"/>
                    <a:pt x="697943" y="2790080"/>
                    <a:pt x="727348" y="2808332"/>
                  </a:cubicBezTo>
                  <a:lnTo>
                    <a:pt x="800353" y="2688684"/>
                  </a:lnTo>
                  <a:cubicBezTo>
                    <a:pt x="827054" y="2704908"/>
                    <a:pt x="854431" y="2720455"/>
                    <a:pt x="882146" y="2734651"/>
                  </a:cubicBezTo>
                  <a:lnTo>
                    <a:pt x="817252" y="2858692"/>
                  </a:lnTo>
                  <a:cubicBezTo>
                    <a:pt x="847671" y="2874915"/>
                    <a:pt x="879104" y="2889787"/>
                    <a:pt x="910874" y="2903644"/>
                  </a:cubicBezTo>
                  <a:lnTo>
                    <a:pt x="966980" y="2775209"/>
                  </a:lnTo>
                  <a:cubicBezTo>
                    <a:pt x="995033" y="2787714"/>
                    <a:pt x="1024438" y="2798868"/>
                    <a:pt x="1053505" y="2809346"/>
                  </a:cubicBezTo>
                  <a:lnTo>
                    <a:pt x="1006863" y="2941499"/>
                  </a:lnTo>
                  <a:cubicBezTo>
                    <a:pt x="1039309" y="2952652"/>
                    <a:pt x="1072432" y="2963468"/>
                    <a:pt x="1105217" y="2972593"/>
                  </a:cubicBezTo>
                  <a:lnTo>
                    <a:pt x="1143409" y="2838075"/>
                  </a:lnTo>
                  <a:cubicBezTo>
                    <a:pt x="1173490" y="2846186"/>
                    <a:pt x="1203233" y="2854298"/>
                    <a:pt x="1234328" y="2860382"/>
                  </a:cubicBezTo>
                  <a:lnTo>
                    <a:pt x="1205599" y="2996928"/>
                  </a:lnTo>
                  <a:cubicBezTo>
                    <a:pt x="1239397" y="3003688"/>
                    <a:pt x="1273534" y="3010110"/>
                    <a:pt x="1307671" y="3014504"/>
                  </a:cubicBezTo>
                  <a:lnTo>
                    <a:pt x="1326260" y="2876267"/>
                  </a:lnTo>
                  <a:cubicBezTo>
                    <a:pt x="1357355" y="2880661"/>
                    <a:pt x="1388450" y="2883703"/>
                    <a:pt x="1419883" y="2885731"/>
                  </a:cubicBezTo>
                  <a:lnTo>
                    <a:pt x="1410419" y="3025319"/>
                  </a:lnTo>
                  <a:cubicBezTo>
                    <a:pt x="1444218" y="3027685"/>
                    <a:pt x="1479031" y="3029037"/>
                    <a:pt x="1513167" y="3029037"/>
                  </a:cubicBezTo>
                  <a:lnTo>
                    <a:pt x="1513167" y="2889449"/>
                  </a:lnTo>
                  <a:lnTo>
                    <a:pt x="1514519" y="2889449"/>
                  </a:lnTo>
                  <a:cubicBezTo>
                    <a:pt x="1545614" y="2889449"/>
                    <a:pt x="1576709" y="2888097"/>
                    <a:pt x="1607465" y="2885731"/>
                  </a:cubicBezTo>
                  <a:lnTo>
                    <a:pt x="1616929" y="3025319"/>
                  </a:lnTo>
                  <a:cubicBezTo>
                    <a:pt x="1651066" y="3023291"/>
                    <a:pt x="1685540" y="3019573"/>
                    <a:pt x="1719677" y="3015180"/>
                  </a:cubicBezTo>
                  <a:lnTo>
                    <a:pt x="1701088" y="2876267"/>
                  </a:lnTo>
                  <a:cubicBezTo>
                    <a:pt x="1732182" y="2871873"/>
                    <a:pt x="1762939" y="2867479"/>
                    <a:pt x="1793358" y="2860720"/>
                  </a:cubicBezTo>
                  <a:lnTo>
                    <a:pt x="1821411" y="2997942"/>
                  </a:lnTo>
                  <a:cubicBezTo>
                    <a:pt x="1855209" y="2991183"/>
                    <a:pt x="1888670" y="2983071"/>
                    <a:pt x="1921793" y="2973607"/>
                  </a:cubicBezTo>
                  <a:lnTo>
                    <a:pt x="1884276" y="2838412"/>
                  </a:lnTo>
                  <a:cubicBezTo>
                    <a:pt x="1914695" y="2830301"/>
                    <a:pt x="1944776" y="2820837"/>
                    <a:pt x="1974181" y="2810360"/>
                  </a:cubicBezTo>
                  <a:lnTo>
                    <a:pt x="2020823" y="2942512"/>
                  </a:lnTo>
                  <a:cubicBezTo>
                    <a:pt x="2053270" y="2930683"/>
                    <a:pt x="2085717" y="2918177"/>
                    <a:pt x="2116811" y="2904320"/>
                  </a:cubicBezTo>
                  <a:lnTo>
                    <a:pt x="2061382" y="2775885"/>
                  </a:lnTo>
                  <a:cubicBezTo>
                    <a:pt x="2090111" y="2763379"/>
                    <a:pt x="2118163" y="2749860"/>
                    <a:pt x="2146216" y="2735327"/>
                  </a:cubicBezTo>
                  <a:lnTo>
                    <a:pt x="2210434" y="2860044"/>
                  </a:lnTo>
                  <a:cubicBezTo>
                    <a:pt x="2240853" y="2843820"/>
                    <a:pt x="2271609" y="2826921"/>
                    <a:pt x="2300676" y="2809008"/>
                  </a:cubicBezTo>
                  <a:lnTo>
                    <a:pt x="2227672" y="2689360"/>
                  </a:lnTo>
                  <a:cubicBezTo>
                    <a:pt x="2254372" y="2673137"/>
                    <a:pt x="2280735" y="2655562"/>
                    <a:pt x="2306084" y="2637649"/>
                  </a:cubicBezTo>
                  <a:lnTo>
                    <a:pt x="2387200" y="2752226"/>
                  </a:lnTo>
                  <a:cubicBezTo>
                    <a:pt x="2415254" y="2732285"/>
                    <a:pt x="2442631" y="2711667"/>
                    <a:pt x="2469332" y="2690036"/>
                  </a:cubicBezTo>
                  <a:lnTo>
                    <a:pt x="2380780" y="2580867"/>
                  </a:lnTo>
                  <a:cubicBezTo>
                    <a:pt x="2405115" y="2561602"/>
                    <a:pt x="2428097" y="2540984"/>
                    <a:pt x="2451080" y="2519015"/>
                  </a:cubicBezTo>
                  <a:lnTo>
                    <a:pt x="2547068" y="2621763"/>
                  </a:lnTo>
                  <a:cubicBezTo>
                    <a:pt x="2572079" y="2598104"/>
                    <a:pt x="2596414" y="2573769"/>
                    <a:pt x="2620074" y="2548758"/>
                  </a:cubicBezTo>
                  <a:lnTo>
                    <a:pt x="2518002" y="2452770"/>
                  </a:lnTo>
                  <a:cubicBezTo>
                    <a:pt x="2539294" y="2429787"/>
                    <a:pt x="2559912" y="2406466"/>
                    <a:pt x="2579853" y="2382468"/>
                  </a:cubicBezTo>
                  <a:lnTo>
                    <a:pt x="2688347" y="2471021"/>
                  </a:lnTo>
                  <a:cubicBezTo>
                    <a:pt x="2710317" y="2444320"/>
                    <a:pt x="2731272" y="2416943"/>
                    <a:pt x="2750536" y="2388890"/>
                  </a:cubicBezTo>
                  <a:lnTo>
                    <a:pt x="2636297" y="2307773"/>
                  </a:lnTo>
                  <a:cubicBezTo>
                    <a:pt x="2654211" y="2282086"/>
                    <a:pt x="2671786" y="2256062"/>
                    <a:pt x="2688009" y="2229699"/>
                  </a:cubicBezTo>
                  <a:lnTo>
                    <a:pt x="2807656" y="2302704"/>
                  </a:lnTo>
                  <a:cubicBezTo>
                    <a:pt x="2825232" y="2273299"/>
                    <a:pt x="2842469" y="2242880"/>
                    <a:pt x="2858017" y="2212461"/>
                  </a:cubicBezTo>
                  <a:lnTo>
                    <a:pt x="2733299" y="2148244"/>
                  </a:lnTo>
                  <a:cubicBezTo>
                    <a:pt x="2748171" y="2120191"/>
                    <a:pt x="2761352" y="2092138"/>
                    <a:pt x="2773857" y="2063409"/>
                  </a:cubicBezTo>
                  <a:lnTo>
                    <a:pt x="2902293" y="2119515"/>
                  </a:lnTo>
                  <a:cubicBezTo>
                    <a:pt x="2916150" y="2087744"/>
                    <a:pt x="2928994" y="2055973"/>
                    <a:pt x="2940486" y="2023526"/>
                  </a:cubicBezTo>
                  <a:lnTo>
                    <a:pt x="2809008" y="1976208"/>
                  </a:lnTo>
                  <a:cubicBezTo>
                    <a:pt x="2819486" y="1946804"/>
                    <a:pt x="2828949" y="1917061"/>
                    <a:pt x="2837062" y="1886980"/>
                  </a:cubicBezTo>
                  <a:lnTo>
                    <a:pt x="2972256" y="1924834"/>
                  </a:lnTo>
                  <a:cubicBezTo>
                    <a:pt x="2981720" y="1891712"/>
                    <a:pt x="2989831" y="1857575"/>
                    <a:pt x="2996591" y="1824452"/>
                  </a:cubicBezTo>
                  <a:lnTo>
                    <a:pt x="2860045" y="1795723"/>
                  </a:lnTo>
                  <a:cubicBezTo>
                    <a:pt x="2866128" y="1765305"/>
                    <a:pt x="2871198" y="1734548"/>
                    <a:pt x="2875592" y="1703453"/>
                  </a:cubicBezTo>
                  <a:lnTo>
                    <a:pt x="3013828" y="1722042"/>
                  </a:lnTo>
                  <a:cubicBezTo>
                    <a:pt x="3018898" y="1688244"/>
                    <a:pt x="3021940" y="1653431"/>
                    <a:pt x="3024306" y="1619294"/>
                  </a:cubicBezTo>
                  <a:lnTo>
                    <a:pt x="2884717" y="1609831"/>
                  </a:lnTo>
                  <a:cubicBezTo>
                    <a:pt x="2886069" y="1592256"/>
                    <a:pt x="2887083" y="1575694"/>
                    <a:pt x="2887083" y="1558119"/>
                  </a:cubicBezTo>
                  <a:cubicBezTo>
                    <a:pt x="2888435" y="1543923"/>
                    <a:pt x="2888435" y="1530066"/>
                    <a:pt x="2888435" y="1515870"/>
                  </a:cubicBezTo>
                  <a:lnTo>
                    <a:pt x="3028024" y="1515870"/>
                  </a:lnTo>
                  <a:lnTo>
                    <a:pt x="3028024" y="1514519"/>
                  </a:lnTo>
                  <a:cubicBezTo>
                    <a:pt x="3028024" y="1499647"/>
                    <a:pt x="3028024" y="1485114"/>
                    <a:pt x="3027347" y="1470242"/>
                  </a:cubicBezTo>
                  <a:cubicBezTo>
                    <a:pt x="3026672" y="1450977"/>
                    <a:pt x="3025996" y="1432050"/>
                    <a:pt x="3024982" y="1412785"/>
                  </a:cubicBezTo>
                  <a:lnTo>
                    <a:pt x="2885394" y="1422248"/>
                  </a:lnTo>
                  <a:cubicBezTo>
                    <a:pt x="2883027" y="1391153"/>
                    <a:pt x="2879647" y="1360059"/>
                    <a:pt x="2875930" y="1328626"/>
                  </a:cubicBezTo>
                  <a:lnTo>
                    <a:pt x="3014166" y="1310037"/>
                  </a:lnTo>
                  <a:cubicBezTo>
                    <a:pt x="3009772" y="1276238"/>
                    <a:pt x="3003689" y="1242101"/>
                    <a:pt x="2996591" y="1208303"/>
                  </a:cubicBezTo>
                  <a:lnTo>
                    <a:pt x="2860045" y="1236355"/>
                  </a:lnTo>
                  <a:cubicBezTo>
                    <a:pt x="2853961" y="1205261"/>
                    <a:pt x="2845849" y="1175180"/>
                    <a:pt x="2837737" y="1145437"/>
                  </a:cubicBezTo>
                  <a:lnTo>
                    <a:pt x="2972256" y="1107582"/>
                  </a:lnTo>
                  <a:cubicBezTo>
                    <a:pt x="2963468" y="1074460"/>
                    <a:pt x="2952991" y="1041337"/>
                    <a:pt x="2941161" y="1009228"/>
                  </a:cubicBezTo>
                  <a:lnTo>
                    <a:pt x="2809684" y="1055871"/>
                  </a:lnTo>
                  <a:cubicBezTo>
                    <a:pt x="2799206" y="1026466"/>
                    <a:pt x="2787715" y="997399"/>
                    <a:pt x="2775548" y="968670"/>
                  </a:cubicBezTo>
                  <a:lnTo>
                    <a:pt x="2903982" y="913240"/>
                  </a:lnTo>
                  <a:cubicBezTo>
                    <a:pt x="2890125" y="881469"/>
                    <a:pt x="2875253" y="849699"/>
                    <a:pt x="2859031" y="819618"/>
                  </a:cubicBezTo>
                  <a:lnTo>
                    <a:pt x="2734989" y="883835"/>
                  </a:lnTo>
                  <a:cubicBezTo>
                    <a:pt x="2720118" y="855782"/>
                    <a:pt x="2704909" y="828405"/>
                    <a:pt x="2688685" y="801704"/>
                  </a:cubicBezTo>
                  <a:lnTo>
                    <a:pt x="2808333" y="729375"/>
                  </a:lnTo>
                  <a:cubicBezTo>
                    <a:pt x="2790757" y="699971"/>
                    <a:pt x="2771492" y="670904"/>
                    <a:pt x="2751551" y="642851"/>
                  </a:cubicBezTo>
                  <a:lnTo>
                    <a:pt x="2636973" y="723968"/>
                  </a:lnTo>
                  <a:cubicBezTo>
                    <a:pt x="2619060" y="698281"/>
                    <a:pt x="2600133" y="673608"/>
                    <a:pt x="2580192" y="649273"/>
                  </a:cubicBezTo>
                  <a:lnTo>
                    <a:pt x="2689361" y="560720"/>
                  </a:lnTo>
                  <a:cubicBezTo>
                    <a:pt x="2667392" y="534019"/>
                    <a:pt x="2645084" y="507656"/>
                    <a:pt x="2621426" y="482645"/>
                  </a:cubicBezTo>
                  <a:lnTo>
                    <a:pt x="2519016" y="577957"/>
                  </a:lnTo>
                  <a:cubicBezTo>
                    <a:pt x="2497046" y="555650"/>
                    <a:pt x="2475415" y="533005"/>
                    <a:pt x="2452433" y="511712"/>
                  </a:cubicBezTo>
                  <a:lnTo>
                    <a:pt x="2548421" y="408964"/>
                  </a:lnTo>
                  <a:cubicBezTo>
                    <a:pt x="2523410" y="385981"/>
                    <a:pt x="2497384" y="362998"/>
                    <a:pt x="2470346" y="341029"/>
                  </a:cubicBezTo>
                  <a:lnTo>
                    <a:pt x="2381793" y="449522"/>
                  </a:lnTo>
                  <a:cubicBezTo>
                    <a:pt x="2357458" y="430257"/>
                    <a:pt x="2332447" y="411330"/>
                    <a:pt x="2307098" y="393417"/>
                  </a:cubicBezTo>
                  <a:lnTo>
                    <a:pt x="2388891" y="278839"/>
                  </a:lnTo>
                  <a:cubicBezTo>
                    <a:pt x="2360837" y="258898"/>
                    <a:pt x="2331433" y="239633"/>
                    <a:pt x="2302366" y="222057"/>
                  </a:cubicBezTo>
                  <a:lnTo>
                    <a:pt x="2229361" y="341029"/>
                  </a:lnTo>
                  <a:cubicBezTo>
                    <a:pt x="2202660" y="324805"/>
                    <a:pt x="2175621" y="309934"/>
                    <a:pt x="2147568" y="295400"/>
                  </a:cubicBezTo>
                  <a:lnTo>
                    <a:pt x="2212462" y="170683"/>
                  </a:lnTo>
                  <a:cubicBezTo>
                    <a:pt x="2182043" y="155136"/>
                    <a:pt x="2150610" y="140264"/>
                    <a:pt x="2118839" y="126407"/>
                  </a:cubicBezTo>
                  <a:lnTo>
                    <a:pt x="2063409" y="254842"/>
                  </a:lnTo>
                  <a:cubicBezTo>
                    <a:pt x="2034680" y="241660"/>
                    <a:pt x="2005276" y="230507"/>
                    <a:pt x="1976209" y="220029"/>
                  </a:cubicBezTo>
                  <a:lnTo>
                    <a:pt x="2022851" y="87877"/>
                  </a:lnTo>
                  <a:cubicBezTo>
                    <a:pt x="1991080" y="76723"/>
                    <a:pt x="1957282" y="65907"/>
                    <a:pt x="1924497" y="56782"/>
                  </a:cubicBezTo>
                  <a:lnTo>
                    <a:pt x="1886980" y="191300"/>
                  </a:lnTo>
                  <a:cubicBezTo>
                    <a:pt x="1856562" y="183189"/>
                    <a:pt x="1826481" y="175077"/>
                    <a:pt x="1795386" y="168993"/>
                  </a:cubicBezTo>
                  <a:lnTo>
                    <a:pt x="1824115" y="32447"/>
                  </a:lnTo>
                  <a:cubicBezTo>
                    <a:pt x="1790316" y="25011"/>
                    <a:pt x="1756180" y="19265"/>
                    <a:pt x="1722381" y="14533"/>
                  </a:cubicBezTo>
                  <a:lnTo>
                    <a:pt x="1703115" y="153446"/>
                  </a:lnTo>
                  <a:cubicBezTo>
                    <a:pt x="1672697" y="149052"/>
                    <a:pt x="1641264" y="146010"/>
                    <a:pt x="1609493" y="143306"/>
                  </a:cubicBezTo>
                  <a:lnTo>
                    <a:pt x="1619633" y="3718"/>
                  </a:lnTo>
                  <a:cubicBezTo>
                    <a:pt x="1585496" y="1352"/>
                    <a:pt x="1551021" y="0"/>
                    <a:pt x="1516209" y="0"/>
                  </a:cubicBezTo>
                  <a:lnTo>
                    <a:pt x="1516209" y="139588"/>
                  </a:lnTo>
                  <a:lnTo>
                    <a:pt x="1513843" y="139588"/>
                  </a:lnTo>
                  <a:cubicBezTo>
                    <a:pt x="1483424" y="139588"/>
                    <a:pt x="1452668" y="140940"/>
                    <a:pt x="1422925" y="142630"/>
                  </a:cubicBezTo>
                  <a:lnTo>
                    <a:pt x="1413461" y="3718"/>
                  </a:lnTo>
                  <a:cubicBezTo>
                    <a:pt x="1379324" y="5746"/>
                    <a:pt x="1344174" y="9464"/>
                    <a:pt x="1310713" y="13857"/>
                  </a:cubicBezTo>
                  <a:lnTo>
                    <a:pt x="1329302" y="152432"/>
                  </a:lnTo>
                  <a:cubicBezTo>
                    <a:pt x="1298207" y="156826"/>
                    <a:pt x="1267113" y="161896"/>
                    <a:pt x="1236356" y="167979"/>
                  </a:cubicBezTo>
                  <a:lnTo>
                    <a:pt x="1208303" y="31433"/>
                  </a:lnTo>
                  <a:cubicBezTo>
                    <a:pt x="1174504" y="38192"/>
                    <a:pt x="1141044" y="46304"/>
                    <a:pt x="1107921" y="55768"/>
                  </a:cubicBezTo>
                  <a:lnTo>
                    <a:pt x="1145437" y="190287"/>
                  </a:lnTo>
                  <a:cubicBezTo>
                    <a:pt x="1115356" y="199074"/>
                    <a:pt x="1085614" y="207862"/>
                    <a:pt x="1056209" y="218339"/>
                  </a:cubicBezTo>
                  <a:lnTo>
                    <a:pt x="1009567" y="86187"/>
                  </a:lnTo>
                  <a:cubicBezTo>
                    <a:pt x="977120" y="98016"/>
                    <a:pt x="944673" y="110522"/>
                    <a:pt x="912903" y="124379"/>
                  </a:cubicBezTo>
                  <a:lnTo>
                    <a:pt x="968332" y="252814"/>
                  </a:lnTo>
                  <a:cubicBezTo>
                    <a:pt x="939603" y="265320"/>
                    <a:pt x="911550" y="278839"/>
                    <a:pt x="883497" y="293372"/>
                  </a:cubicBezTo>
                  <a:lnTo>
                    <a:pt x="819280" y="168655"/>
                  </a:lnTo>
                  <a:cubicBezTo>
                    <a:pt x="788862" y="184203"/>
                    <a:pt x="758780" y="201778"/>
                    <a:pt x="729038" y="219015"/>
                  </a:cubicBezTo>
                  <a:lnTo>
                    <a:pt x="802043" y="338663"/>
                  </a:lnTo>
                  <a:cubicBezTo>
                    <a:pt x="775342" y="354886"/>
                    <a:pt x="748979" y="372461"/>
                    <a:pt x="723630" y="390375"/>
                  </a:cubicBezTo>
                  <a:lnTo>
                    <a:pt x="643189" y="275797"/>
                  </a:lnTo>
                  <a:cubicBezTo>
                    <a:pt x="615136" y="295738"/>
                    <a:pt x="587083" y="317032"/>
                    <a:pt x="560382" y="337987"/>
                  </a:cubicBezTo>
                  <a:lnTo>
                    <a:pt x="648935" y="447156"/>
                  </a:lnTo>
                  <a:cubicBezTo>
                    <a:pt x="624600" y="467098"/>
                    <a:pt x="600940" y="487715"/>
                    <a:pt x="578634" y="509008"/>
                  </a:cubicBezTo>
                  <a:lnTo>
                    <a:pt x="482645" y="406260"/>
                  </a:lnTo>
                  <a:cubicBezTo>
                    <a:pt x="457634" y="429919"/>
                    <a:pt x="432623" y="454254"/>
                    <a:pt x="409640" y="479265"/>
                  </a:cubicBezTo>
                  <a:lnTo>
                    <a:pt x="512050" y="575253"/>
                  </a:lnTo>
                  <a:cubicBezTo>
                    <a:pt x="490757" y="598236"/>
                    <a:pt x="469802" y="621220"/>
                    <a:pt x="450199" y="645555"/>
                  </a:cubicBezTo>
                  <a:lnTo>
                    <a:pt x="341029" y="557002"/>
                  </a:lnTo>
                  <a:cubicBezTo>
                    <a:pt x="319736" y="583027"/>
                    <a:pt x="298781" y="611080"/>
                    <a:pt x="278839" y="639471"/>
                  </a:cubicBezTo>
                  <a:lnTo>
                    <a:pt x="393417" y="720588"/>
                  </a:lnTo>
                  <a:cubicBezTo>
                    <a:pt x="375503" y="746275"/>
                    <a:pt x="357928" y="771624"/>
                    <a:pt x="341029" y="798663"/>
                  </a:cubicBezTo>
                  <a:lnTo>
                    <a:pt x="222058" y="725657"/>
                  </a:lnTo>
                  <a:cubicBezTo>
                    <a:pt x="203806" y="755062"/>
                    <a:pt x="186569" y="784805"/>
                    <a:pt x="171021" y="815562"/>
                  </a:cubicBezTo>
                  <a:lnTo>
                    <a:pt x="295063" y="880455"/>
                  </a:lnTo>
                  <a:cubicBezTo>
                    <a:pt x="280867" y="907832"/>
                    <a:pt x="267685" y="936561"/>
                    <a:pt x="254504" y="965290"/>
                  </a:cubicBezTo>
                  <a:lnTo>
                    <a:pt x="126069" y="908508"/>
                  </a:lnTo>
                  <a:cubicBezTo>
                    <a:pt x="112212" y="940279"/>
                    <a:pt x="100044" y="972726"/>
                    <a:pt x="87877" y="1004497"/>
                  </a:cubicBezTo>
                  <a:lnTo>
                    <a:pt x="220030" y="1051815"/>
                  </a:lnTo>
                  <a:cubicBezTo>
                    <a:pt x="209552" y="1081220"/>
                    <a:pt x="200088" y="1110962"/>
                    <a:pt x="191301" y="1141719"/>
                  </a:cubicBezTo>
                  <a:lnTo>
                    <a:pt x="56782" y="1103189"/>
                  </a:lnTo>
                  <a:cubicBezTo>
                    <a:pt x="47318" y="1136987"/>
                    <a:pt x="38869" y="1170448"/>
                    <a:pt x="31771" y="1204247"/>
                  </a:cubicBezTo>
                  <a:lnTo>
                    <a:pt x="168993" y="1232976"/>
                  </a:lnTo>
                  <a:cubicBezTo>
                    <a:pt x="162234" y="1263056"/>
                    <a:pt x="157164" y="1294151"/>
                    <a:pt x="152770" y="1325246"/>
                  </a:cubicBezTo>
                  <a:lnTo>
                    <a:pt x="14195" y="1305981"/>
                  </a:lnTo>
                  <a:cubicBezTo>
                    <a:pt x="9126" y="1339779"/>
                    <a:pt x="5408" y="1374592"/>
                    <a:pt x="3718" y="1408729"/>
                  </a:cubicBezTo>
                  <a:lnTo>
                    <a:pt x="142630" y="1418868"/>
                  </a:lnTo>
                  <a:cubicBezTo>
                    <a:pt x="140603" y="1449287"/>
                    <a:pt x="139589" y="1480720"/>
                    <a:pt x="138913" y="1512491"/>
                  </a:cubicBezTo>
                  <a:lnTo>
                    <a:pt x="0" y="1511815"/>
                  </a:lnTo>
                  <a:close/>
                  <a:moveTo>
                    <a:pt x="270728" y="1515195"/>
                  </a:moveTo>
                  <a:cubicBezTo>
                    <a:pt x="270728" y="828743"/>
                    <a:pt x="829420" y="270727"/>
                    <a:pt x="1515195" y="270727"/>
                  </a:cubicBezTo>
                  <a:cubicBezTo>
                    <a:pt x="2200970" y="270727"/>
                    <a:pt x="2758986" y="828743"/>
                    <a:pt x="2758986" y="1515195"/>
                  </a:cubicBezTo>
                  <a:cubicBezTo>
                    <a:pt x="2758986" y="2201646"/>
                    <a:pt x="2200970" y="2758986"/>
                    <a:pt x="1515195" y="2758986"/>
                  </a:cubicBezTo>
                  <a:cubicBezTo>
                    <a:pt x="829420" y="2758986"/>
                    <a:pt x="270728" y="2200970"/>
                    <a:pt x="270728" y="1515195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658A791-9C17-87D3-792A-3CA69262CC3B}"/>
                </a:ext>
              </a:extLst>
            </p:cNvPr>
            <p:cNvSpPr/>
            <p:nvPr/>
          </p:nvSpPr>
          <p:spPr>
            <a:xfrm>
              <a:off x="6337129" y="2843604"/>
              <a:ext cx="1676076" cy="1676414"/>
            </a:xfrm>
            <a:custGeom>
              <a:avLst/>
              <a:gdLst>
                <a:gd name="connsiteX0" fmla="*/ 0 w 1676076"/>
                <a:gd name="connsiteY0" fmla="*/ 838207 h 1676414"/>
                <a:gd name="connsiteX1" fmla="*/ 838207 w 1676076"/>
                <a:gd name="connsiteY1" fmla="*/ 1676414 h 1676414"/>
                <a:gd name="connsiteX2" fmla="*/ 1676077 w 1676076"/>
                <a:gd name="connsiteY2" fmla="*/ 838207 h 1676414"/>
                <a:gd name="connsiteX3" fmla="*/ 838207 w 1676076"/>
                <a:gd name="connsiteY3" fmla="*/ 0 h 1676414"/>
                <a:gd name="connsiteX4" fmla="*/ 0 w 1676076"/>
                <a:gd name="connsiteY4" fmla="*/ 838207 h 1676414"/>
                <a:gd name="connsiteX5" fmla="*/ 230845 w 1676076"/>
                <a:gd name="connsiteY5" fmla="*/ 838207 h 1676414"/>
                <a:gd name="connsiteX6" fmla="*/ 838207 w 1676076"/>
                <a:gd name="connsiteY6" fmla="*/ 230845 h 1676414"/>
                <a:gd name="connsiteX7" fmla="*/ 1445232 w 1676076"/>
                <a:gd name="connsiteY7" fmla="*/ 838207 h 1676414"/>
                <a:gd name="connsiteX8" fmla="*/ 838207 w 1676076"/>
                <a:gd name="connsiteY8" fmla="*/ 1445569 h 1676414"/>
                <a:gd name="connsiteX9" fmla="*/ 230845 w 1676076"/>
                <a:gd name="connsiteY9" fmla="*/ 838207 h 167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6076" h="1676414">
                  <a:moveTo>
                    <a:pt x="0" y="838207"/>
                  </a:moveTo>
                  <a:cubicBezTo>
                    <a:pt x="0" y="1300235"/>
                    <a:pt x="376179" y="1676414"/>
                    <a:pt x="838207" y="1676414"/>
                  </a:cubicBezTo>
                  <a:cubicBezTo>
                    <a:pt x="1300235" y="1676414"/>
                    <a:pt x="1676077" y="1300235"/>
                    <a:pt x="1676077" y="838207"/>
                  </a:cubicBezTo>
                  <a:cubicBezTo>
                    <a:pt x="1676077" y="376179"/>
                    <a:pt x="1300573" y="0"/>
                    <a:pt x="838207" y="0"/>
                  </a:cubicBezTo>
                  <a:cubicBezTo>
                    <a:pt x="375841" y="0"/>
                    <a:pt x="0" y="376179"/>
                    <a:pt x="0" y="838207"/>
                  </a:cubicBezTo>
                  <a:close/>
                  <a:moveTo>
                    <a:pt x="230845" y="838207"/>
                  </a:moveTo>
                  <a:cubicBezTo>
                    <a:pt x="230845" y="503262"/>
                    <a:pt x="503600" y="230845"/>
                    <a:pt x="838207" y="230845"/>
                  </a:cubicBezTo>
                  <a:cubicBezTo>
                    <a:pt x="1172814" y="230845"/>
                    <a:pt x="1445232" y="503600"/>
                    <a:pt x="1445232" y="838207"/>
                  </a:cubicBezTo>
                  <a:cubicBezTo>
                    <a:pt x="1445232" y="1172814"/>
                    <a:pt x="1173152" y="1445569"/>
                    <a:pt x="838207" y="1445569"/>
                  </a:cubicBezTo>
                  <a:cubicBezTo>
                    <a:pt x="503262" y="1445569"/>
                    <a:pt x="230845" y="1172814"/>
                    <a:pt x="230845" y="838207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B277FFB-C574-70A6-6FF0-78E31F7FE44F}"/>
                </a:ext>
              </a:extLst>
            </p:cNvPr>
            <p:cNvSpPr/>
            <p:nvPr/>
          </p:nvSpPr>
          <p:spPr>
            <a:xfrm>
              <a:off x="5991030" y="2497844"/>
              <a:ext cx="2368273" cy="2368273"/>
            </a:xfrm>
            <a:custGeom>
              <a:avLst/>
              <a:gdLst>
                <a:gd name="connsiteX0" fmla="*/ 0 w 2368273"/>
                <a:gd name="connsiteY0" fmla="*/ 1183968 h 2368273"/>
                <a:gd name="connsiteX1" fmla="*/ 1184305 w 2368273"/>
                <a:gd name="connsiteY1" fmla="*/ 2368273 h 2368273"/>
                <a:gd name="connsiteX2" fmla="*/ 2368273 w 2368273"/>
                <a:gd name="connsiteY2" fmla="*/ 1183968 h 2368273"/>
                <a:gd name="connsiteX3" fmla="*/ 1184305 w 2368273"/>
                <a:gd name="connsiteY3" fmla="*/ 0 h 2368273"/>
                <a:gd name="connsiteX4" fmla="*/ 0 w 2368273"/>
                <a:gd name="connsiteY4" fmla="*/ 1183968 h 2368273"/>
                <a:gd name="connsiteX5" fmla="*/ 54416 w 2368273"/>
                <a:gd name="connsiteY5" fmla="*/ 1183968 h 2368273"/>
                <a:gd name="connsiteX6" fmla="*/ 1184644 w 2368273"/>
                <a:gd name="connsiteY6" fmla="*/ 54416 h 2368273"/>
                <a:gd name="connsiteX7" fmla="*/ 2314196 w 2368273"/>
                <a:gd name="connsiteY7" fmla="*/ 1183968 h 2368273"/>
                <a:gd name="connsiteX8" fmla="*/ 1184644 w 2368273"/>
                <a:gd name="connsiteY8" fmla="*/ 2314195 h 2368273"/>
                <a:gd name="connsiteX9" fmla="*/ 54416 w 2368273"/>
                <a:gd name="connsiteY9" fmla="*/ 1183968 h 236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8273" h="2368273">
                  <a:moveTo>
                    <a:pt x="0" y="1183968"/>
                  </a:moveTo>
                  <a:cubicBezTo>
                    <a:pt x="0" y="1837296"/>
                    <a:pt x="530977" y="2368273"/>
                    <a:pt x="1184305" y="2368273"/>
                  </a:cubicBezTo>
                  <a:cubicBezTo>
                    <a:pt x="1837634" y="2368273"/>
                    <a:pt x="2368273" y="1837296"/>
                    <a:pt x="2368273" y="1183968"/>
                  </a:cubicBezTo>
                  <a:cubicBezTo>
                    <a:pt x="2368273" y="530639"/>
                    <a:pt x="1837296" y="0"/>
                    <a:pt x="1184305" y="0"/>
                  </a:cubicBezTo>
                  <a:cubicBezTo>
                    <a:pt x="531315" y="0"/>
                    <a:pt x="0" y="530977"/>
                    <a:pt x="0" y="1183968"/>
                  </a:cubicBezTo>
                  <a:close/>
                  <a:moveTo>
                    <a:pt x="54416" y="1183968"/>
                  </a:moveTo>
                  <a:cubicBezTo>
                    <a:pt x="54416" y="561058"/>
                    <a:pt x="561396" y="54416"/>
                    <a:pt x="1184644" y="54416"/>
                  </a:cubicBezTo>
                  <a:cubicBezTo>
                    <a:pt x="1807891" y="54416"/>
                    <a:pt x="2314196" y="561396"/>
                    <a:pt x="2314196" y="1183968"/>
                  </a:cubicBezTo>
                  <a:cubicBezTo>
                    <a:pt x="2314196" y="1806539"/>
                    <a:pt x="1807215" y="2314195"/>
                    <a:pt x="1184644" y="2314195"/>
                  </a:cubicBezTo>
                  <a:cubicBezTo>
                    <a:pt x="562072" y="2314195"/>
                    <a:pt x="54416" y="1807215"/>
                    <a:pt x="54416" y="1183968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4369C26-1A8E-1E87-7AC0-10E0351E6AF0}"/>
                </a:ext>
              </a:extLst>
            </p:cNvPr>
            <p:cNvSpPr/>
            <p:nvPr/>
          </p:nvSpPr>
          <p:spPr>
            <a:xfrm>
              <a:off x="4908121" y="1414597"/>
              <a:ext cx="4534768" cy="4533753"/>
            </a:xfrm>
            <a:custGeom>
              <a:avLst/>
              <a:gdLst>
                <a:gd name="connsiteX0" fmla="*/ 0 w 4534768"/>
                <a:gd name="connsiteY0" fmla="*/ 2261469 h 4533753"/>
                <a:gd name="connsiteX1" fmla="*/ 0 w 4534768"/>
                <a:gd name="connsiteY1" fmla="*/ 2266539 h 4533753"/>
                <a:gd name="connsiteX2" fmla="*/ 5746 w 4534768"/>
                <a:gd name="connsiteY2" fmla="*/ 2427759 h 4533753"/>
                <a:gd name="connsiteX3" fmla="*/ 13181 w 4534768"/>
                <a:gd name="connsiteY3" fmla="*/ 2507524 h 4533753"/>
                <a:gd name="connsiteX4" fmla="*/ 38530 w 4534768"/>
                <a:gd name="connsiteY4" fmla="*/ 2684967 h 4533753"/>
                <a:gd name="connsiteX5" fmla="*/ 234901 w 4534768"/>
                <a:gd name="connsiteY5" fmla="*/ 2648126 h 4533753"/>
                <a:gd name="connsiteX6" fmla="*/ 476899 w 4534768"/>
                <a:gd name="connsiteY6" fmla="*/ 3300440 h 4533753"/>
                <a:gd name="connsiteX7" fmla="*/ 303174 w 4534768"/>
                <a:gd name="connsiteY7" fmla="*/ 3400484 h 4533753"/>
                <a:gd name="connsiteX8" fmla="*/ 546525 w 4534768"/>
                <a:gd name="connsiteY8" fmla="*/ 3743203 h 4533753"/>
                <a:gd name="connsiteX9" fmla="*/ 698619 w 4534768"/>
                <a:gd name="connsiteY9" fmla="*/ 3612402 h 4533753"/>
                <a:gd name="connsiteX10" fmla="*/ 1233314 w 4534768"/>
                <a:gd name="connsiteY10" fmla="*/ 4056517 h 4533753"/>
                <a:gd name="connsiteX11" fmla="*/ 1132594 w 4534768"/>
                <a:gd name="connsiteY11" fmla="*/ 4230242 h 4533753"/>
                <a:gd name="connsiteX12" fmla="*/ 1514519 w 4534768"/>
                <a:gd name="connsiteY12" fmla="*/ 4405995 h 4533753"/>
                <a:gd name="connsiteX13" fmla="*/ 1580764 w 4534768"/>
                <a:gd name="connsiteY13" fmla="*/ 4217060 h 4533753"/>
                <a:gd name="connsiteX14" fmla="*/ 2266877 w 4534768"/>
                <a:gd name="connsiteY14" fmla="*/ 4334680 h 4533753"/>
                <a:gd name="connsiteX15" fmla="*/ 2265863 w 4534768"/>
                <a:gd name="connsiteY15" fmla="*/ 4533754 h 4533753"/>
                <a:gd name="connsiteX16" fmla="*/ 2267554 w 4534768"/>
                <a:gd name="connsiteY16" fmla="*/ 4533754 h 4533753"/>
                <a:gd name="connsiteX17" fmla="*/ 2683953 w 4534768"/>
                <a:gd name="connsiteY17" fmla="*/ 4495900 h 4533753"/>
                <a:gd name="connsiteX18" fmla="*/ 2647789 w 4534768"/>
                <a:gd name="connsiteY18" fmla="*/ 4299191 h 4533753"/>
                <a:gd name="connsiteX19" fmla="*/ 3299427 w 4534768"/>
                <a:gd name="connsiteY19" fmla="*/ 4057531 h 4533753"/>
                <a:gd name="connsiteX20" fmla="*/ 3400147 w 4534768"/>
                <a:gd name="connsiteY20" fmla="*/ 4231256 h 4533753"/>
                <a:gd name="connsiteX21" fmla="*/ 3742528 w 4534768"/>
                <a:gd name="connsiteY21" fmla="*/ 3988581 h 4533753"/>
                <a:gd name="connsiteX22" fmla="*/ 3611727 w 4534768"/>
                <a:gd name="connsiteY22" fmla="*/ 3835811 h 4533753"/>
                <a:gd name="connsiteX23" fmla="*/ 4056179 w 4534768"/>
                <a:gd name="connsiteY23" fmla="*/ 3301792 h 4533753"/>
                <a:gd name="connsiteX24" fmla="*/ 4229905 w 4534768"/>
                <a:gd name="connsiteY24" fmla="*/ 3402512 h 4533753"/>
                <a:gd name="connsiteX25" fmla="*/ 4405658 w 4534768"/>
                <a:gd name="connsiteY25" fmla="*/ 3021263 h 4533753"/>
                <a:gd name="connsiteX26" fmla="*/ 4217399 w 4534768"/>
                <a:gd name="connsiteY26" fmla="*/ 2954680 h 4533753"/>
                <a:gd name="connsiteX27" fmla="*/ 4335019 w 4534768"/>
                <a:gd name="connsiteY27" fmla="*/ 2269581 h 4533753"/>
                <a:gd name="connsiteX28" fmla="*/ 4534768 w 4534768"/>
                <a:gd name="connsiteY28" fmla="*/ 2269581 h 4533753"/>
                <a:gd name="connsiteX29" fmla="*/ 4534768 w 4534768"/>
                <a:gd name="connsiteY29" fmla="*/ 2266877 h 4533753"/>
                <a:gd name="connsiteX30" fmla="*/ 4496238 w 4534768"/>
                <a:gd name="connsiteY30" fmla="*/ 1851829 h 4533753"/>
                <a:gd name="connsiteX31" fmla="*/ 4299868 w 4534768"/>
                <a:gd name="connsiteY31" fmla="*/ 1887994 h 4533753"/>
                <a:gd name="connsiteX32" fmla="*/ 4058207 w 4534768"/>
                <a:gd name="connsiteY32" fmla="*/ 1236356 h 4533753"/>
                <a:gd name="connsiteX33" fmla="*/ 4232270 w 4534768"/>
                <a:gd name="connsiteY33" fmla="*/ 1135635 h 4533753"/>
                <a:gd name="connsiteX34" fmla="*/ 3989596 w 4534768"/>
                <a:gd name="connsiteY34" fmla="*/ 792917 h 4533753"/>
                <a:gd name="connsiteX35" fmla="*/ 3836826 w 4534768"/>
                <a:gd name="connsiteY35" fmla="*/ 923718 h 4533753"/>
                <a:gd name="connsiteX36" fmla="*/ 3302807 w 4534768"/>
                <a:gd name="connsiteY36" fmla="*/ 479265 h 4533753"/>
                <a:gd name="connsiteX37" fmla="*/ 3403527 w 4534768"/>
                <a:gd name="connsiteY37" fmla="*/ 305540 h 4533753"/>
                <a:gd name="connsiteX38" fmla="*/ 3022278 w 4534768"/>
                <a:gd name="connsiteY38" fmla="*/ 129111 h 4533753"/>
                <a:gd name="connsiteX39" fmla="*/ 2955695 w 4534768"/>
                <a:gd name="connsiteY39" fmla="*/ 318046 h 4533753"/>
                <a:gd name="connsiteX40" fmla="*/ 2270595 w 4534768"/>
                <a:gd name="connsiteY40" fmla="*/ 199750 h 4533753"/>
                <a:gd name="connsiteX41" fmla="*/ 2270595 w 4534768"/>
                <a:gd name="connsiteY41" fmla="*/ 0 h 4533753"/>
                <a:gd name="connsiteX42" fmla="*/ 2267215 w 4534768"/>
                <a:gd name="connsiteY42" fmla="*/ 0 h 4533753"/>
                <a:gd name="connsiteX43" fmla="*/ 1853181 w 4534768"/>
                <a:gd name="connsiteY43" fmla="*/ 37855 h 4533753"/>
                <a:gd name="connsiteX44" fmla="*/ 1889346 w 4534768"/>
                <a:gd name="connsiteY44" fmla="*/ 234563 h 4533753"/>
                <a:gd name="connsiteX45" fmla="*/ 1237032 w 4534768"/>
                <a:gd name="connsiteY45" fmla="*/ 474871 h 4533753"/>
                <a:gd name="connsiteX46" fmla="*/ 1136988 w 4534768"/>
                <a:gd name="connsiteY46" fmla="*/ 301146 h 4533753"/>
                <a:gd name="connsiteX47" fmla="*/ 794269 w 4534768"/>
                <a:gd name="connsiteY47" fmla="*/ 543821 h 4533753"/>
                <a:gd name="connsiteX48" fmla="*/ 924394 w 4534768"/>
                <a:gd name="connsiteY48" fmla="*/ 695915 h 4533753"/>
                <a:gd name="connsiteX49" fmla="*/ 479265 w 4534768"/>
                <a:gd name="connsiteY49" fmla="*/ 1229934 h 4533753"/>
                <a:gd name="connsiteX50" fmla="*/ 306216 w 4534768"/>
                <a:gd name="connsiteY50" fmla="*/ 1128538 h 4533753"/>
                <a:gd name="connsiteX51" fmla="*/ 129787 w 4534768"/>
                <a:gd name="connsiteY51" fmla="*/ 1509787 h 4533753"/>
                <a:gd name="connsiteX52" fmla="*/ 318045 w 4534768"/>
                <a:gd name="connsiteY52" fmla="*/ 1576370 h 4533753"/>
                <a:gd name="connsiteX53" fmla="*/ 199412 w 4534768"/>
                <a:gd name="connsiteY53" fmla="*/ 2261807 h 4533753"/>
                <a:gd name="connsiteX54" fmla="*/ 338 w 4534768"/>
                <a:gd name="connsiteY54" fmla="*/ 2260793 h 4533753"/>
                <a:gd name="connsiteX55" fmla="*/ 497854 w 4534768"/>
                <a:gd name="connsiteY55" fmla="*/ 2267215 h 4533753"/>
                <a:gd name="connsiteX56" fmla="*/ 2267215 w 4534768"/>
                <a:gd name="connsiteY56" fmla="*/ 497854 h 4533753"/>
                <a:gd name="connsiteX57" fmla="*/ 4035900 w 4534768"/>
                <a:gd name="connsiteY57" fmla="*/ 2267215 h 4533753"/>
                <a:gd name="connsiteX58" fmla="*/ 2267215 w 4534768"/>
                <a:gd name="connsiteY58" fmla="*/ 4036575 h 4533753"/>
                <a:gd name="connsiteX59" fmla="*/ 497854 w 4534768"/>
                <a:gd name="connsiteY59" fmla="*/ 2267215 h 453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4534768" h="4533753">
                  <a:moveTo>
                    <a:pt x="0" y="2261469"/>
                  </a:moveTo>
                  <a:lnTo>
                    <a:pt x="0" y="2266539"/>
                  </a:lnTo>
                  <a:cubicBezTo>
                    <a:pt x="0" y="2320279"/>
                    <a:pt x="1690" y="2374019"/>
                    <a:pt x="5746" y="2427759"/>
                  </a:cubicBezTo>
                  <a:cubicBezTo>
                    <a:pt x="7435" y="2454460"/>
                    <a:pt x="9802" y="2480823"/>
                    <a:pt x="13181" y="2507524"/>
                  </a:cubicBezTo>
                  <a:cubicBezTo>
                    <a:pt x="19265" y="2567347"/>
                    <a:pt x="28053" y="2626157"/>
                    <a:pt x="38530" y="2684967"/>
                  </a:cubicBezTo>
                  <a:lnTo>
                    <a:pt x="234901" y="2648126"/>
                  </a:lnTo>
                  <a:cubicBezTo>
                    <a:pt x="279177" y="2881675"/>
                    <a:pt x="361646" y="3101366"/>
                    <a:pt x="476899" y="3300440"/>
                  </a:cubicBezTo>
                  <a:lnTo>
                    <a:pt x="303174" y="3400484"/>
                  </a:lnTo>
                  <a:cubicBezTo>
                    <a:pt x="373475" y="3521484"/>
                    <a:pt x="454930" y="3637075"/>
                    <a:pt x="546525" y="3743203"/>
                  </a:cubicBezTo>
                  <a:lnTo>
                    <a:pt x="698619" y="3612402"/>
                  </a:lnTo>
                  <a:cubicBezTo>
                    <a:pt x="850375" y="3788155"/>
                    <a:pt x="1030522" y="3939235"/>
                    <a:pt x="1233314" y="4056517"/>
                  </a:cubicBezTo>
                  <a:lnTo>
                    <a:pt x="1132594" y="4230242"/>
                  </a:lnTo>
                  <a:cubicBezTo>
                    <a:pt x="1253593" y="4300543"/>
                    <a:pt x="1382028" y="4359691"/>
                    <a:pt x="1514519" y="4405995"/>
                  </a:cubicBezTo>
                  <a:lnTo>
                    <a:pt x="1580764" y="4217060"/>
                  </a:lnTo>
                  <a:cubicBezTo>
                    <a:pt x="1795724" y="4292770"/>
                    <a:pt x="2026569" y="4334680"/>
                    <a:pt x="2266877" y="4334680"/>
                  </a:cubicBezTo>
                  <a:lnTo>
                    <a:pt x="2265863" y="4533754"/>
                  </a:lnTo>
                  <a:lnTo>
                    <a:pt x="2267554" y="4533754"/>
                  </a:lnTo>
                  <a:cubicBezTo>
                    <a:pt x="2407142" y="4533754"/>
                    <a:pt x="2547407" y="4520573"/>
                    <a:pt x="2683953" y="4495900"/>
                  </a:cubicBezTo>
                  <a:lnTo>
                    <a:pt x="2647789" y="4299191"/>
                  </a:lnTo>
                  <a:cubicBezTo>
                    <a:pt x="2880999" y="4255591"/>
                    <a:pt x="3101028" y="4172446"/>
                    <a:pt x="3299427" y="4057531"/>
                  </a:cubicBezTo>
                  <a:lnTo>
                    <a:pt x="3400147" y="4231256"/>
                  </a:lnTo>
                  <a:cubicBezTo>
                    <a:pt x="3521146" y="4161630"/>
                    <a:pt x="3636062" y="4079500"/>
                    <a:pt x="3742528" y="3988581"/>
                  </a:cubicBezTo>
                  <a:lnTo>
                    <a:pt x="3611727" y="3835811"/>
                  </a:lnTo>
                  <a:cubicBezTo>
                    <a:pt x="3788156" y="3684731"/>
                    <a:pt x="3939236" y="3504246"/>
                    <a:pt x="4056179" y="3301792"/>
                  </a:cubicBezTo>
                  <a:lnTo>
                    <a:pt x="4229905" y="3402512"/>
                  </a:lnTo>
                  <a:cubicBezTo>
                    <a:pt x="4300206" y="3281513"/>
                    <a:pt x="4359354" y="3153078"/>
                    <a:pt x="4405658" y="3021263"/>
                  </a:cubicBezTo>
                  <a:lnTo>
                    <a:pt x="4217399" y="2954680"/>
                  </a:lnTo>
                  <a:cubicBezTo>
                    <a:pt x="4293108" y="2740396"/>
                    <a:pt x="4335019" y="2509551"/>
                    <a:pt x="4335019" y="2269581"/>
                  </a:cubicBezTo>
                  <a:lnTo>
                    <a:pt x="4534768" y="2269581"/>
                  </a:lnTo>
                  <a:lnTo>
                    <a:pt x="4534768" y="2266877"/>
                  </a:lnTo>
                  <a:cubicBezTo>
                    <a:pt x="4534768" y="2127627"/>
                    <a:pt x="4521925" y="1988038"/>
                    <a:pt x="4496238" y="1851829"/>
                  </a:cubicBezTo>
                  <a:lnTo>
                    <a:pt x="4299868" y="1887994"/>
                  </a:lnTo>
                  <a:cubicBezTo>
                    <a:pt x="4256268" y="1654783"/>
                    <a:pt x="4173799" y="1434754"/>
                    <a:pt x="4058207" y="1236356"/>
                  </a:cubicBezTo>
                  <a:lnTo>
                    <a:pt x="4232270" y="1135635"/>
                  </a:lnTo>
                  <a:cubicBezTo>
                    <a:pt x="4161969" y="1014636"/>
                    <a:pt x="4080515" y="899045"/>
                    <a:pt x="3989596" y="792917"/>
                  </a:cubicBezTo>
                  <a:lnTo>
                    <a:pt x="3836826" y="923718"/>
                  </a:lnTo>
                  <a:cubicBezTo>
                    <a:pt x="3685746" y="747289"/>
                    <a:pt x="3505261" y="596885"/>
                    <a:pt x="3302807" y="479265"/>
                  </a:cubicBezTo>
                  <a:lnTo>
                    <a:pt x="3403527" y="305540"/>
                  </a:lnTo>
                  <a:cubicBezTo>
                    <a:pt x="3282528" y="235239"/>
                    <a:pt x="3154093" y="176091"/>
                    <a:pt x="3022278" y="129111"/>
                  </a:cubicBezTo>
                  <a:lnTo>
                    <a:pt x="2955695" y="318046"/>
                  </a:lnTo>
                  <a:cubicBezTo>
                    <a:pt x="2741411" y="242336"/>
                    <a:pt x="2511242" y="200426"/>
                    <a:pt x="2270595" y="199750"/>
                  </a:cubicBezTo>
                  <a:lnTo>
                    <a:pt x="2270595" y="0"/>
                  </a:lnTo>
                  <a:lnTo>
                    <a:pt x="2267215" y="0"/>
                  </a:lnTo>
                  <a:cubicBezTo>
                    <a:pt x="2127965" y="0"/>
                    <a:pt x="1989052" y="12843"/>
                    <a:pt x="1853181" y="37855"/>
                  </a:cubicBezTo>
                  <a:lnTo>
                    <a:pt x="1889346" y="234563"/>
                  </a:lnTo>
                  <a:cubicBezTo>
                    <a:pt x="1655797" y="277487"/>
                    <a:pt x="1436106" y="360294"/>
                    <a:pt x="1237032" y="474871"/>
                  </a:cubicBezTo>
                  <a:lnTo>
                    <a:pt x="1136988" y="301146"/>
                  </a:lnTo>
                  <a:cubicBezTo>
                    <a:pt x="1015988" y="370771"/>
                    <a:pt x="900397" y="452902"/>
                    <a:pt x="794269" y="543821"/>
                  </a:cubicBezTo>
                  <a:lnTo>
                    <a:pt x="924394" y="695915"/>
                  </a:lnTo>
                  <a:cubicBezTo>
                    <a:pt x="747965" y="847671"/>
                    <a:pt x="596885" y="1027480"/>
                    <a:pt x="479265" y="1229934"/>
                  </a:cubicBezTo>
                  <a:lnTo>
                    <a:pt x="306216" y="1128538"/>
                  </a:lnTo>
                  <a:cubicBezTo>
                    <a:pt x="235577" y="1250213"/>
                    <a:pt x="176091" y="1377972"/>
                    <a:pt x="129787" y="1509787"/>
                  </a:cubicBezTo>
                  <a:lnTo>
                    <a:pt x="318045" y="1576370"/>
                  </a:lnTo>
                  <a:cubicBezTo>
                    <a:pt x="241660" y="1791330"/>
                    <a:pt x="199750" y="2021499"/>
                    <a:pt x="199412" y="2261807"/>
                  </a:cubicBezTo>
                  <a:lnTo>
                    <a:pt x="338" y="2260793"/>
                  </a:lnTo>
                  <a:close/>
                  <a:moveTo>
                    <a:pt x="497854" y="2267215"/>
                  </a:moveTo>
                  <a:cubicBezTo>
                    <a:pt x="497854" y="1292123"/>
                    <a:pt x="1291447" y="497854"/>
                    <a:pt x="2267215" y="497854"/>
                  </a:cubicBezTo>
                  <a:cubicBezTo>
                    <a:pt x="3242983" y="497854"/>
                    <a:pt x="4035900" y="1292123"/>
                    <a:pt x="4035900" y="2267215"/>
                  </a:cubicBezTo>
                  <a:cubicBezTo>
                    <a:pt x="4035900" y="3242307"/>
                    <a:pt x="3242307" y="4036575"/>
                    <a:pt x="2267215" y="4036575"/>
                  </a:cubicBezTo>
                  <a:cubicBezTo>
                    <a:pt x="1292123" y="4036575"/>
                    <a:pt x="497854" y="3242983"/>
                    <a:pt x="497854" y="2267215"/>
                  </a:cubicBezTo>
                  <a:close/>
                </a:path>
              </a:pathLst>
            </a:custGeom>
            <a:solidFill>
              <a:srgbClr val="000000">
                <a:alpha val="60000"/>
              </a:srgbClr>
            </a:solidFill>
            <a:ln w="33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6" name="Graphic 5">
              <a:extLst>
                <a:ext uri="{FF2B5EF4-FFF2-40B4-BE49-F238E27FC236}">
                  <a16:creationId xmlns:a16="http://schemas.microsoft.com/office/drawing/2014/main" id="{1B56DE05-48A4-EBFB-A09E-299642D6FD9A}"/>
                </a:ext>
              </a:extLst>
            </p:cNvPr>
            <p:cNvGrpSpPr/>
            <p:nvPr/>
          </p:nvGrpSpPr>
          <p:grpSpPr>
            <a:xfrm>
              <a:off x="6786313" y="2869967"/>
              <a:ext cx="1641939" cy="1642277"/>
              <a:chOff x="6786313" y="2869967"/>
              <a:chExt cx="1641939" cy="1642277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803AC20-428C-2AD5-3074-C00416E222EC}"/>
                  </a:ext>
                </a:extLst>
              </p:cNvPr>
              <p:cNvSpPr/>
              <p:nvPr/>
            </p:nvSpPr>
            <p:spPr>
              <a:xfrm>
                <a:off x="7277070" y="3360724"/>
                <a:ext cx="660425" cy="660763"/>
              </a:xfrm>
              <a:custGeom>
                <a:avLst/>
                <a:gdLst>
                  <a:gd name="connsiteX0" fmla="*/ 330213 w 660425"/>
                  <a:gd name="connsiteY0" fmla="*/ 0 h 660763"/>
                  <a:gd name="connsiteX1" fmla="*/ 0 w 660425"/>
                  <a:gd name="connsiteY1" fmla="*/ 330551 h 660763"/>
                  <a:gd name="connsiteX2" fmla="*/ 330213 w 660425"/>
                  <a:gd name="connsiteY2" fmla="*/ 660764 h 660763"/>
                  <a:gd name="connsiteX3" fmla="*/ 660426 w 660425"/>
                  <a:gd name="connsiteY3" fmla="*/ 330551 h 660763"/>
                  <a:gd name="connsiteX4" fmla="*/ 330213 w 660425"/>
                  <a:gd name="connsiteY4" fmla="*/ 0 h 660763"/>
                  <a:gd name="connsiteX5" fmla="*/ 330213 w 660425"/>
                  <a:gd name="connsiteY5" fmla="*/ 609390 h 660763"/>
                  <a:gd name="connsiteX6" fmla="*/ 51374 w 660425"/>
                  <a:gd name="connsiteY6" fmla="*/ 330551 h 660763"/>
                  <a:gd name="connsiteX7" fmla="*/ 330213 w 660425"/>
                  <a:gd name="connsiteY7" fmla="*/ 51374 h 660763"/>
                  <a:gd name="connsiteX8" fmla="*/ 609390 w 660425"/>
                  <a:gd name="connsiteY8" fmla="*/ 330551 h 660763"/>
                  <a:gd name="connsiteX9" fmla="*/ 330213 w 660425"/>
                  <a:gd name="connsiteY9" fmla="*/ 609390 h 66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0425" h="660763">
                    <a:moveTo>
                      <a:pt x="330213" y="0"/>
                    </a:moveTo>
                    <a:cubicBezTo>
                      <a:pt x="148038" y="0"/>
                      <a:pt x="0" y="148376"/>
                      <a:pt x="0" y="330551"/>
                    </a:cubicBezTo>
                    <a:cubicBezTo>
                      <a:pt x="0" y="512726"/>
                      <a:pt x="148038" y="660764"/>
                      <a:pt x="330213" y="660764"/>
                    </a:cubicBezTo>
                    <a:cubicBezTo>
                      <a:pt x="512388" y="660764"/>
                      <a:pt x="660426" y="512388"/>
                      <a:pt x="660426" y="330551"/>
                    </a:cubicBezTo>
                    <a:cubicBezTo>
                      <a:pt x="660426" y="148714"/>
                      <a:pt x="512388" y="0"/>
                      <a:pt x="330213" y="0"/>
                    </a:cubicBezTo>
                    <a:close/>
                    <a:moveTo>
                      <a:pt x="330213" y="609390"/>
                    </a:moveTo>
                    <a:cubicBezTo>
                      <a:pt x="176429" y="609390"/>
                      <a:pt x="51374" y="484335"/>
                      <a:pt x="51374" y="330551"/>
                    </a:cubicBezTo>
                    <a:cubicBezTo>
                      <a:pt x="51374" y="176767"/>
                      <a:pt x="176429" y="51374"/>
                      <a:pt x="330213" y="51374"/>
                    </a:cubicBezTo>
                    <a:cubicBezTo>
                      <a:pt x="483997" y="51374"/>
                      <a:pt x="609390" y="176429"/>
                      <a:pt x="609390" y="330551"/>
                    </a:cubicBezTo>
                    <a:cubicBezTo>
                      <a:pt x="609390" y="484673"/>
                      <a:pt x="483997" y="609390"/>
                      <a:pt x="330213" y="60939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6801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5FE9DB-07CF-C542-A85A-414083CC7B97}"/>
                  </a:ext>
                </a:extLst>
              </p:cNvPr>
              <p:cNvSpPr/>
              <p:nvPr/>
            </p:nvSpPr>
            <p:spPr>
              <a:xfrm>
                <a:off x="6987078" y="3071069"/>
                <a:ext cx="1240411" cy="1240073"/>
              </a:xfrm>
              <a:custGeom>
                <a:avLst/>
                <a:gdLst>
                  <a:gd name="connsiteX0" fmla="*/ 620205 w 1240411"/>
                  <a:gd name="connsiteY0" fmla="*/ 0 h 1240073"/>
                  <a:gd name="connsiteX1" fmla="*/ 0 w 1240411"/>
                  <a:gd name="connsiteY1" fmla="*/ 620206 h 1240073"/>
                  <a:gd name="connsiteX2" fmla="*/ 620205 w 1240411"/>
                  <a:gd name="connsiteY2" fmla="*/ 1240073 h 1240073"/>
                  <a:gd name="connsiteX3" fmla="*/ 1240411 w 1240411"/>
                  <a:gd name="connsiteY3" fmla="*/ 620206 h 1240073"/>
                  <a:gd name="connsiteX4" fmla="*/ 620205 w 1240411"/>
                  <a:gd name="connsiteY4" fmla="*/ 0 h 1240073"/>
                  <a:gd name="connsiteX5" fmla="*/ 620205 w 1240411"/>
                  <a:gd name="connsiteY5" fmla="*/ 1214724 h 1240073"/>
                  <a:gd name="connsiteX6" fmla="*/ 25687 w 1240411"/>
                  <a:gd name="connsiteY6" fmla="*/ 620206 h 1240073"/>
                  <a:gd name="connsiteX7" fmla="*/ 620205 w 1240411"/>
                  <a:gd name="connsiteY7" fmla="*/ 25349 h 1240073"/>
                  <a:gd name="connsiteX8" fmla="*/ 1214725 w 1240411"/>
                  <a:gd name="connsiteY8" fmla="*/ 620206 h 1240073"/>
                  <a:gd name="connsiteX9" fmla="*/ 620205 w 1240411"/>
                  <a:gd name="connsiteY9" fmla="*/ 1214724 h 124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40411" h="1240073">
                    <a:moveTo>
                      <a:pt x="620205" y="0"/>
                    </a:moveTo>
                    <a:cubicBezTo>
                      <a:pt x="278501" y="0"/>
                      <a:pt x="0" y="278163"/>
                      <a:pt x="0" y="620206"/>
                    </a:cubicBezTo>
                    <a:cubicBezTo>
                      <a:pt x="0" y="962248"/>
                      <a:pt x="278501" y="1240073"/>
                      <a:pt x="620205" y="1240073"/>
                    </a:cubicBezTo>
                    <a:cubicBezTo>
                      <a:pt x="961910" y="1240073"/>
                      <a:pt x="1240411" y="961910"/>
                      <a:pt x="1240411" y="620206"/>
                    </a:cubicBezTo>
                    <a:cubicBezTo>
                      <a:pt x="1240411" y="278501"/>
                      <a:pt x="962248" y="0"/>
                      <a:pt x="620205" y="0"/>
                    </a:cubicBezTo>
                    <a:close/>
                    <a:moveTo>
                      <a:pt x="620205" y="1214724"/>
                    </a:moveTo>
                    <a:cubicBezTo>
                      <a:pt x="292358" y="1214724"/>
                      <a:pt x="25687" y="948053"/>
                      <a:pt x="25687" y="620206"/>
                    </a:cubicBezTo>
                    <a:cubicBezTo>
                      <a:pt x="25687" y="292359"/>
                      <a:pt x="292358" y="25349"/>
                      <a:pt x="620205" y="25349"/>
                    </a:cubicBezTo>
                    <a:cubicBezTo>
                      <a:pt x="948053" y="25349"/>
                      <a:pt x="1214725" y="292359"/>
                      <a:pt x="1214725" y="620206"/>
                    </a:cubicBezTo>
                    <a:cubicBezTo>
                      <a:pt x="1214725" y="948053"/>
                      <a:pt x="948053" y="1214724"/>
                      <a:pt x="620205" y="1214724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6801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A97552F-9704-AEEE-C921-634D25B52407}"/>
                  </a:ext>
                </a:extLst>
              </p:cNvPr>
              <p:cNvSpPr/>
              <p:nvPr/>
            </p:nvSpPr>
            <p:spPr>
              <a:xfrm>
                <a:off x="6786313" y="2869967"/>
                <a:ext cx="1641939" cy="1642277"/>
              </a:xfrm>
              <a:custGeom>
                <a:avLst/>
                <a:gdLst>
                  <a:gd name="connsiteX0" fmla="*/ 1566568 w 1641939"/>
                  <a:gd name="connsiteY0" fmla="*/ 819280 h 1642277"/>
                  <a:gd name="connsiteX1" fmla="*/ 1564541 w 1641939"/>
                  <a:gd name="connsiteY1" fmla="*/ 768582 h 1642277"/>
                  <a:gd name="connsiteX2" fmla="*/ 1639912 w 1641939"/>
                  <a:gd name="connsiteY2" fmla="*/ 763174 h 1642277"/>
                  <a:gd name="connsiteX3" fmla="*/ 1634166 w 1641939"/>
                  <a:gd name="connsiteY3" fmla="*/ 707406 h 1642277"/>
                  <a:gd name="connsiteX4" fmla="*/ 1559133 w 1641939"/>
                  <a:gd name="connsiteY4" fmla="*/ 717884 h 1642277"/>
                  <a:gd name="connsiteX5" fmla="*/ 1550345 w 1641939"/>
                  <a:gd name="connsiteY5" fmla="*/ 667862 h 1642277"/>
                  <a:gd name="connsiteX6" fmla="*/ 1624702 w 1641939"/>
                  <a:gd name="connsiteY6" fmla="*/ 652314 h 1642277"/>
                  <a:gd name="connsiteX7" fmla="*/ 1611183 w 1641939"/>
                  <a:gd name="connsiteY7" fmla="*/ 597561 h 1642277"/>
                  <a:gd name="connsiteX8" fmla="*/ 1538178 w 1641939"/>
                  <a:gd name="connsiteY8" fmla="*/ 618516 h 1642277"/>
                  <a:gd name="connsiteX9" fmla="*/ 1522631 w 1641939"/>
                  <a:gd name="connsiteY9" fmla="*/ 569846 h 1642277"/>
                  <a:gd name="connsiteX10" fmla="*/ 1594284 w 1641939"/>
                  <a:gd name="connsiteY10" fmla="*/ 544159 h 1642277"/>
                  <a:gd name="connsiteX11" fmla="*/ 1573666 w 1641939"/>
                  <a:gd name="connsiteY11" fmla="*/ 492109 h 1642277"/>
                  <a:gd name="connsiteX12" fmla="*/ 1504041 w 1641939"/>
                  <a:gd name="connsiteY12" fmla="*/ 522865 h 1642277"/>
                  <a:gd name="connsiteX13" fmla="*/ 1482072 w 1641939"/>
                  <a:gd name="connsiteY13" fmla="*/ 476899 h 1642277"/>
                  <a:gd name="connsiteX14" fmla="*/ 1549331 w 1641939"/>
                  <a:gd name="connsiteY14" fmla="*/ 441749 h 1642277"/>
                  <a:gd name="connsiteX15" fmla="*/ 1521617 w 1641939"/>
                  <a:gd name="connsiteY15" fmla="*/ 393078 h 1642277"/>
                  <a:gd name="connsiteX16" fmla="*/ 1457061 w 1641939"/>
                  <a:gd name="connsiteY16" fmla="*/ 432623 h 1642277"/>
                  <a:gd name="connsiteX17" fmla="*/ 1428670 w 1641939"/>
                  <a:gd name="connsiteY17" fmla="*/ 390375 h 1642277"/>
                  <a:gd name="connsiteX18" fmla="*/ 1490860 w 1641939"/>
                  <a:gd name="connsiteY18" fmla="*/ 346436 h 1642277"/>
                  <a:gd name="connsiteX19" fmla="*/ 1457061 w 1641939"/>
                  <a:gd name="connsiteY19" fmla="*/ 301822 h 1642277"/>
                  <a:gd name="connsiteX20" fmla="*/ 1397913 w 1641939"/>
                  <a:gd name="connsiteY20" fmla="*/ 349816 h 1642277"/>
                  <a:gd name="connsiteX21" fmla="*/ 1364452 w 1641939"/>
                  <a:gd name="connsiteY21" fmla="*/ 311624 h 1642277"/>
                  <a:gd name="connsiteX22" fmla="*/ 1419882 w 1641939"/>
                  <a:gd name="connsiteY22" fmla="*/ 259574 h 1642277"/>
                  <a:gd name="connsiteX23" fmla="*/ 1380338 w 1641939"/>
                  <a:gd name="connsiteY23" fmla="*/ 220029 h 1642277"/>
                  <a:gd name="connsiteX24" fmla="*/ 1328288 w 1641939"/>
                  <a:gd name="connsiteY24" fmla="*/ 275797 h 1642277"/>
                  <a:gd name="connsiteX25" fmla="*/ 1290096 w 1641939"/>
                  <a:gd name="connsiteY25" fmla="*/ 242336 h 1642277"/>
                  <a:gd name="connsiteX26" fmla="*/ 1338090 w 1641939"/>
                  <a:gd name="connsiteY26" fmla="*/ 183189 h 1642277"/>
                  <a:gd name="connsiteX27" fmla="*/ 1293137 w 1641939"/>
                  <a:gd name="connsiteY27" fmla="*/ 149390 h 1642277"/>
                  <a:gd name="connsiteX28" fmla="*/ 1249537 w 1641939"/>
                  <a:gd name="connsiteY28" fmla="*/ 211580 h 1642277"/>
                  <a:gd name="connsiteX29" fmla="*/ 1206951 w 1641939"/>
                  <a:gd name="connsiteY29" fmla="*/ 183527 h 1642277"/>
                  <a:gd name="connsiteX30" fmla="*/ 1246495 w 1641939"/>
                  <a:gd name="connsiteY30" fmla="*/ 118633 h 1642277"/>
                  <a:gd name="connsiteX31" fmla="*/ 1197487 w 1641939"/>
                  <a:gd name="connsiteY31" fmla="*/ 91256 h 1642277"/>
                  <a:gd name="connsiteX32" fmla="*/ 1162674 w 1641939"/>
                  <a:gd name="connsiteY32" fmla="*/ 158854 h 1642277"/>
                  <a:gd name="connsiteX33" fmla="*/ 1116708 w 1641939"/>
                  <a:gd name="connsiteY33" fmla="*/ 136885 h 1642277"/>
                  <a:gd name="connsiteX34" fmla="*/ 1146789 w 1641939"/>
                  <a:gd name="connsiteY34" fmla="*/ 67259 h 1642277"/>
                  <a:gd name="connsiteX35" fmla="*/ 1094401 w 1641939"/>
                  <a:gd name="connsiteY35" fmla="*/ 46642 h 1642277"/>
                  <a:gd name="connsiteX36" fmla="*/ 1069052 w 1641939"/>
                  <a:gd name="connsiteY36" fmla="*/ 118295 h 1642277"/>
                  <a:gd name="connsiteX37" fmla="*/ 1020720 w 1641939"/>
                  <a:gd name="connsiteY37" fmla="*/ 103086 h 1642277"/>
                  <a:gd name="connsiteX38" fmla="*/ 1040999 w 1641939"/>
                  <a:gd name="connsiteY38" fmla="*/ 30081 h 1642277"/>
                  <a:gd name="connsiteX39" fmla="*/ 986583 w 1641939"/>
                  <a:gd name="connsiteY39" fmla="*/ 16899 h 1642277"/>
                  <a:gd name="connsiteX40" fmla="*/ 971374 w 1641939"/>
                  <a:gd name="connsiteY40" fmla="*/ 90918 h 1642277"/>
                  <a:gd name="connsiteX41" fmla="*/ 921014 w 1641939"/>
                  <a:gd name="connsiteY41" fmla="*/ 82469 h 1642277"/>
                  <a:gd name="connsiteX42" fmla="*/ 931154 w 1641939"/>
                  <a:gd name="connsiteY42" fmla="*/ 7436 h 1642277"/>
                  <a:gd name="connsiteX43" fmla="*/ 875386 w 1641939"/>
                  <a:gd name="connsiteY43" fmla="*/ 2028 h 1642277"/>
                  <a:gd name="connsiteX44" fmla="*/ 870316 w 1641939"/>
                  <a:gd name="connsiteY44" fmla="*/ 77399 h 1642277"/>
                  <a:gd name="connsiteX45" fmla="*/ 820970 w 1641939"/>
                  <a:gd name="connsiteY45" fmla="*/ 75709 h 1642277"/>
                  <a:gd name="connsiteX46" fmla="*/ 819618 w 1641939"/>
                  <a:gd name="connsiteY46" fmla="*/ 75709 h 1642277"/>
                  <a:gd name="connsiteX47" fmla="*/ 819618 w 1641939"/>
                  <a:gd name="connsiteY47" fmla="*/ 0 h 1642277"/>
                  <a:gd name="connsiteX48" fmla="*/ 763512 w 1641939"/>
                  <a:gd name="connsiteY48" fmla="*/ 2028 h 1642277"/>
                  <a:gd name="connsiteX49" fmla="*/ 768920 w 1641939"/>
                  <a:gd name="connsiteY49" fmla="*/ 77737 h 1642277"/>
                  <a:gd name="connsiteX50" fmla="*/ 718222 w 1641939"/>
                  <a:gd name="connsiteY50" fmla="*/ 83145 h 1642277"/>
                  <a:gd name="connsiteX51" fmla="*/ 707744 w 1641939"/>
                  <a:gd name="connsiteY51" fmla="*/ 7774 h 1642277"/>
                  <a:gd name="connsiteX52" fmla="*/ 652652 w 1641939"/>
                  <a:gd name="connsiteY52" fmla="*/ 17575 h 1642277"/>
                  <a:gd name="connsiteX53" fmla="*/ 668200 w 1641939"/>
                  <a:gd name="connsiteY53" fmla="*/ 91594 h 1642277"/>
                  <a:gd name="connsiteX54" fmla="*/ 618516 w 1641939"/>
                  <a:gd name="connsiteY54" fmla="*/ 103762 h 1642277"/>
                  <a:gd name="connsiteX55" fmla="*/ 598237 w 1641939"/>
                  <a:gd name="connsiteY55" fmla="*/ 30757 h 1642277"/>
                  <a:gd name="connsiteX56" fmla="*/ 544835 w 1641939"/>
                  <a:gd name="connsiteY56" fmla="*/ 47656 h 1642277"/>
                  <a:gd name="connsiteX57" fmla="*/ 570184 w 1641939"/>
                  <a:gd name="connsiteY57" fmla="*/ 119309 h 1642277"/>
                  <a:gd name="connsiteX58" fmla="*/ 522866 w 1641939"/>
                  <a:gd name="connsiteY58" fmla="*/ 138237 h 1642277"/>
                  <a:gd name="connsiteX59" fmla="*/ 492785 w 1641939"/>
                  <a:gd name="connsiteY59" fmla="*/ 68611 h 1642277"/>
                  <a:gd name="connsiteX60" fmla="*/ 442087 w 1641939"/>
                  <a:gd name="connsiteY60" fmla="*/ 92608 h 1642277"/>
                  <a:gd name="connsiteX61" fmla="*/ 477237 w 1641939"/>
                  <a:gd name="connsiteY61" fmla="*/ 160206 h 1642277"/>
                  <a:gd name="connsiteX62" fmla="*/ 432961 w 1641939"/>
                  <a:gd name="connsiteY62" fmla="*/ 184879 h 1642277"/>
                  <a:gd name="connsiteX63" fmla="*/ 393417 w 1641939"/>
                  <a:gd name="connsiteY63" fmla="*/ 120323 h 1642277"/>
                  <a:gd name="connsiteX64" fmla="*/ 346436 w 1641939"/>
                  <a:gd name="connsiteY64" fmla="*/ 151080 h 1642277"/>
                  <a:gd name="connsiteX65" fmla="*/ 390713 w 1641939"/>
                  <a:gd name="connsiteY65" fmla="*/ 213270 h 1642277"/>
                  <a:gd name="connsiteX66" fmla="*/ 350154 w 1641939"/>
                  <a:gd name="connsiteY66" fmla="*/ 243688 h 1642277"/>
                  <a:gd name="connsiteX67" fmla="*/ 302160 w 1641939"/>
                  <a:gd name="connsiteY67" fmla="*/ 184879 h 1642277"/>
                  <a:gd name="connsiteX68" fmla="*/ 259912 w 1641939"/>
                  <a:gd name="connsiteY68" fmla="*/ 221719 h 1642277"/>
                  <a:gd name="connsiteX69" fmla="*/ 311962 w 1641939"/>
                  <a:gd name="connsiteY69" fmla="*/ 277487 h 1642277"/>
                  <a:gd name="connsiteX70" fmla="*/ 275797 w 1641939"/>
                  <a:gd name="connsiteY70" fmla="*/ 313314 h 1642277"/>
                  <a:gd name="connsiteX71" fmla="*/ 220368 w 1641939"/>
                  <a:gd name="connsiteY71" fmla="*/ 261602 h 1642277"/>
                  <a:gd name="connsiteX72" fmla="*/ 183527 w 1641939"/>
                  <a:gd name="connsiteY72" fmla="*/ 303850 h 1642277"/>
                  <a:gd name="connsiteX73" fmla="*/ 242674 w 1641939"/>
                  <a:gd name="connsiteY73" fmla="*/ 351844 h 1642277"/>
                  <a:gd name="connsiteX74" fmla="*/ 211918 w 1641939"/>
                  <a:gd name="connsiteY74" fmla="*/ 392402 h 1642277"/>
                  <a:gd name="connsiteX75" fmla="*/ 149728 w 1641939"/>
                  <a:gd name="connsiteY75" fmla="*/ 348464 h 1642277"/>
                  <a:gd name="connsiteX76" fmla="*/ 118971 w 1641939"/>
                  <a:gd name="connsiteY76" fmla="*/ 395444 h 1642277"/>
                  <a:gd name="connsiteX77" fmla="*/ 183865 w 1641939"/>
                  <a:gd name="connsiteY77" fmla="*/ 434651 h 1642277"/>
                  <a:gd name="connsiteX78" fmla="*/ 158854 w 1641939"/>
                  <a:gd name="connsiteY78" fmla="*/ 479265 h 1642277"/>
                  <a:gd name="connsiteX79" fmla="*/ 91594 w 1641939"/>
                  <a:gd name="connsiteY79" fmla="*/ 444452 h 1642277"/>
                  <a:gd name="connsiteX80" fmla="*/ 67259 w 1641939"/>
                  <a:gd name="connsiteY80" fmla="*/ 495150 h 1642277"/>
                  <a:gd name="connsiteX81" fmla="*/ 136885 w 1641939"/>
                  <a:gd name="connsiteY81" fmla="*/ 525231 h 1642277"/>
                  <a:gd name="connsiteX82" fmla="*/ 118295 w 1641939"/>
                  <a:gd name="connsiteY82" fmla="*/ 572549 h 1642277"/>
                  <a:gd name="connsiteX83" fmla="*/ 46980 w 1641939"/>
                  <a:gd name="connsiteY83" fmla="*/ 547200 h 1642277"/>
                  <a:gd name="connsiteX84" fmla="*/ 30081 w 1641939"/>
                  <a:gd name="connsiteY84" fmla="*/ 600602 h 1642277"/>
                  <a:gd name="connsiteX85" fmla="*/ 103086 w 1641939"/>
                  <a:gd name="connsiteY85" fmla="*/ 621220 h 1642277"/>
                  <a:gd name="connsiteX86" fmla="*/ 90919 w 1641939"/>
                  <a:gd name="connsiteY86" fmla="*/ 670566 h 1642277"/>
                  <a:gd name="connsiteX87" fmla="*/ 16899 w 1641939"/>
                  <a:gd name="connsiteY87" fmla="*/ 655356 h 1642277"/>
                  <a:gd name="connsiteX88" fmla="*/ 7436 w 1641939"/>
                  <a:gd name="connsiteY88" fmla="*/ 710448 h 1642277"/>
                  <a:gd name="connsiteX89" fmla="*/ 82469 w 1641939"/>
                  <a:gd name="connsiteY89" fmla="*/ 720588 h 1642277"/>
                  <a:gd name="connsiteX90" fmla="*/ 77399 w 1641939"/>
                  <a:gd name="connsiteY90" fmla="*/ 771286 h 1642277"/>
                  <a:gd name="connsiteX91" fmla="*/ 1690 w 1641939"/>
                  <a:gd name="connsiteY91" fmla="*/ 766216 h 1642277"/>
                  <a:gd name="connsiteX92" fmla="*/ 338 w 1641939"/>
                  <a:gd name="connsiteY92" fmla="*/ 797311 h 1642277"/>
                  <a:gd name="connsiteX93" fmla="*/ 0 w 1641939"/>
                  <a:gd name="connsiteY93" fmla="*/ 821308 h 1642277"/>
                  <a:gd name="connsiteX94" fmla="*/ 0 w 1641939"/>
                  <a:gd name="connsiteY94" fmla="*/ 821984 h 1642277"/>
                  <a:gd name="connsiteX95" fmla="*/ 75709 w 1641939"/>
                  <a:gd name="connsiteY95" fmla="*/ 821984 h 1642277"/>
                  <a:gd name="connsiteX96" fmla="*/ 76385 w 1641939"/>
                  <a:gd name="connsiteY96" fmla="*/ 844967 h 1642277"/>
                  <a:gd name="connsiteX97" fmla="*/ 77737 w 1641939"/>
                  <a:gd name="connsiteY97" fmla="*/ 873020 h 1642277"/>
                  <a:gd name="connsiteX98" fmla="*/ 2028 w 1641939"/>
                  <a:gd name="connsiteY98" fmla="*/ 878090 h 1642277"/>
                  <a:gd name="connsiteX99" fmla="*/ 7774 w 1641939"/>
                  <a:gd name="connsiteY99" fmla="*/ 933857 h 1642277"/>
                  <a:gd name="connsiteX100" fmla="*/ 82807 w 1641939"/>
                  <a:gd name="connsiteY100" fmla="*/ 923718 h 1642277"/>
                  <a:gd name="connsiteX101" fmla="*/ 91256 w 1641939"/>
                  <a:gd name="connsiteY101" fmla="*/ 973740 h 1642277"/>
                  <a:gd name="connsiteX102" fmla="*/ 17237 w 1641939"/>
                  <a:gd name="connsiteY102" fmla="*/ 989287 h 1642277"/>
                  <a:gd name="connsiteX103" fmla="*/ 30419 w 1641939"/>
                  <a:gd name="connsiteY103" fmla="*/ 1043703 h 1642277"/>
                  <a:gd name="connsiteX104" fmla="*/ 103762 w 1641939"/>
                  <a:gd name="connsiteY104" fmla="*/ 1023086 h 1642277"/>
                  <a:gd name="connsiteX105" fmla="*/ 118971 w 1641939"/>
                  <a:gd name="connsiteY105" fmla="*/ 1071418 h 1642277"/>
                  <a:gd name="connsiteX106" fmla="*/ 47656 w 1641939"/>
                  <a:gd name="connsiteY106" fmla="*/ 1097105 h 1642277"/>
                  <a:gd name="connsiteX107" fmla="*/ 68273 w 1641939"/>
                  <a:gd name="connsiteY107" fmla="*/ 1149155 h 1642277"/>
                  <a:gd name="connsiteX108" fmla="*/ 137899 w 1641939"/>
                  <a:gd name="connsiteY108" fmla="*/ 1118736 h 1642277"/>
                  <a:gd name="connsiteX109" fmla="*/ 159868 w 1641939"/>
                  <a:gd name="connsiteY109" fmla="*/ 1164702 h 1642277"/>
                  <a:gd name="connsiteX110" fmla="*/ 92270 w 1641939"/>
                  <a:gd name="connsiteY110" fmla="*/ 1199515 h 1642277"/>
                  <a:gd name="connsiteX111" fmla="*/ 119647 w 1641939"/>
                  <a:gd name="connsiteY111" fmla="*/ 1248523 h 1642277"/>
                  <a:gd name="connsiteX112" fmla="*/ 184540 w 1641939"/>
                  <a:gd name="connsiteY112" fmla="*/ 1208979 h 1642277"/>
                  <a:gd name="connsiteX113" fmla="*/ 212593 w 1641939"/>
                  <a:gd name="connsiteY113" fmla="*/ 1251227 h 1642277"/>
                  <a:gd name="connsiteX114" fmla="*/ 150742 w 1641939"/>
                  <a:gd name="connsiteY114" fmla="*/ 1295165 h 1642277"/>
                  <a:gd name="connsiteX115" fmla="*/ 184540 w 1641939"/>
                  <a:gd name="connsiteY115" fmla="*/ 1339779 h 1642277"/>
                  <a:gd name="connsiteX116" fmla="*/ 243350 w 1641939"/>
                  <a:gd name="connsiteY116" fmla="*/ 1291785 h 1642277"/>
                  <a:gd name="connsiteX117" fmla="*/ 276811 w 1641939"/>
                  <a:gd name="connsiteY117" fmla="*/ 1329978 h 1642277"/>
                  <a:gd name="connsiteX118" fmla="*/ 221381 w 1641939"/>
                  <a:gd name="connsiteY118" fmla="*/ 1382028 h 1642277"/>
                  <a:gd name="connsiteX119" fmla="*/ 260926 w 1641939"/>
                  <a:gd name="connsiteY119" fmla="*/ 1421572 h 1642277"/>
                  <a:gd name="connsiteX120" fmla="*/ 312976 w 1641939"/>
                  <a:gd name="connsiteY120" fmla="*/ 1365804 h 1642277"/>
                  <a:gd name="connsiteX121" fmla="*/ 351168 w 1641939"/>
                  <a:gd name="connsiteY121" fmla="*/ 1399265 h 1642277"/>
                  <a:gd name="connsiteX122" fmla="*/ 303174 w 1641939"/>
                  <a:gd name="connsiteY122" fmla="*/ 1458413 h 1642277"/>
                  <a:gd name="connsiteX123" fmla="*/ 347788 w 1641939"/>
                  <a:gd name="connsiteY123" fmla="*/ 1492211 h 1642277"/>
                  <a:gd name="connsiteX124" fmla="*/ 391727 w 1641939"/>
                  <a:gd name="connsiteY124" fmla="*/ 1430022 h 1642277"/>
                  <a:gd name="connsiteX125" fmla="*/ 434313 w 1641939"/>
                  <a:gd name="connsiteY125" fmla="*/ 1458075 h 1642277"/>
                  <a:gd name="connsiteX126" fmla="*/ 394768 w 1641939"/>
                  <a:gd name="connsiteY126" fmla="*/ 1522968 h 1642277"/>
                  <a:gd name="connsiteX127" fmla="*/ 443777 w 1641939"/>
                  <a:gd name="connsiteY127" fmla="*/ 1550683 h 1642277"/>
                  <a:gd name="connsiteX128" fmla="*/ 478589 w 1641939"/>
                  <a:gd name="connsiteY128" fmla="*/ 1483086 h 1642277"/>
                  <a:gd name="connsiteX129" fmla="*/ 524556 w 1641939"/>
                  <a:gd name="connsiteY129" fmla="*/ 1505055 h 1642277"/>
                  <a:gd name="connsiteX130" fmla="*/ 494475 w 1641939"/>
                  <a:gd name="connsiteY130" fmla="*/ 1574680 h 1642277"/>
                  <a:gd name="connsiteX131" fmla="*/ 546525 w 1641939"/>
                  <a:gd name="connsiteY131" fmla="*/ 1595297 h 1642277"/>
                  <a:gd name="connsiteX132" fmla="*/ 571874 w 1641939"/>
                  <a:gd name="connsiteY132" fmla="*/ 1523644 h 1642277"/>
                  <a:gd name="connsiteX133" fmla="*/ 620544 w 1641939"/>
                  <a:gd name="connsiteY133" fmla="*/ 1538853 h 1642277"/>
                  <a:gd name="connsiteX134" fmla="*/ 600264 w 1641939"/>
                  <a:gd name="connsiteY134" fmla="*/ 1612197 h 1642277"/>
                  <a:gd name="connsiteX135" fmla="*/ 654680 w 1641939"/>
                  <a:gd name="connsiteY135" fmla="*/ 1625378 h 1642277"/>
                  <a:gd name="connsiteX136" fmla="*/ 669890 w 1641939"/>
                  <a:gd name="connsiteY136" fmla="*/ 1551021 h 1642277"/>
                  <a:gd name="connsiteX137" fmla="*/ 719912 w 1641939"/>
                  <a:gd name="connsiteY137" fmla="*/ 1559471 h 1642277"/>
                  <a:gd name="connsiteX138" fmla="*/ 709772 w 1641939"/>
                  <a:gd name="connsiteY138" fmla="*/ 1634842 h 1642277"/>
                  <a:gd name="connsiteX139" fmla="*/ 765540 w 1641939"/>
                  <a:gd name="connsiteY139" fmla="*/ 1640249 h 1642277"/>
                  <a:gd name="connsiteX140" fmla="*/ 770610 w 1641939"/>
                  <a:gd name="connsiteY140" fmla="*/ 1564540 h 1642277"/>
                  <a:gd name="connsiteX141" fmla="*/ 820970 w 1641939"/>
                  <a:gd name="connsiteY141" fmla="*/ 1566569 h 1642277"/>
                  <a:gd name="connsiteX142" fmla="*/ 821646 w 1641939"/>
                  <a:gd name="connsiteY142" fmla="*/ 1566569 h 1642277"/>
                  <a:gd name="connsiteX143" fmla="*/ 821646 w 1641939"/>
                  <a:gd name="connsiteY143" fmla="*/ 1642278 h 1642277"/>
                  <a:gd name="connsiteX144" fmla="*/ 877413 w 1641939"/>
                  <a:gd name="connsiteY144" fmla="*/ 1640249 h 1642277"/>
                  <a:gd name="connsiteX145" fmla="*/ 872344 w 1641939"/>
                  <a:gd name="connsiteY145" fmla="*/ 1564540 h 1642277"/>
                  <a:gd name="connsiteX146" fmla="*/ 923042 w 1641939"/>
                  <a:gd name="connsiteY146" fmla="*/ 1559471 h 1642277"/>
                  <a:gd name="connsiteX147" fmla="*/ 933182 w 1641939"/>
                  <a:gd name="connsiteY147" fmla="*/ 1634504 h 1642277"/>
                  <a:gd name="connsiteX148" fmla="*/ 988611 w 1641939"/>
                  <a:gd name="connsiteY148" fmla="*/ 1625040 h 1642277"/>
                  <a:gd name="connsiteX149" fmla="*/ 973064 w 1641939"/>
                  <a:gd name="connsiteY149" fmla="*/ 1551021 h 1642277"/>
                  <a:gd name="connsiteX150" fmla="*/ 1022410 w 1641939"/>
                  <a:gd name="connsiteY150" fmla="*/ 1538853 h 1642277"/>
                  <a:gd name="connsiteX151" fmla="*/ 1043027 w 1641939"/>
                  <a:gd name="connsiteY151" fmla="*/ 1611859 h 1642277"/>
                  <a:gd name="connsiteX152" fmla="*/ 1096429 w 1641939"/>
                  <a:gd name="connsiteY152" fmla="*/ 1594959 h 1642277"/>
                  <a:gd name="connsiteX153" fmla="*/ 1071080 w 1641939"/>
                  <a:gd name="connsiteY153" fmla="*/ 1523306 h 1642277"/>
                  <a:gd name="connsiteX154" fmla="*/ 1118060 w 1641939"/>
                  <a:gd name="connsiteY154" fmla="*/ 1504717 h 1642277"/>
                  <a:gd name="connsiteX155" fmla="*/ 1148479 w 1641939"/>
                  <a:gd name="connsiteY155" fmla="*/ 1574342 h 1642277"/>
                  <a:gd name="connsiteX156" fmla="*/ 1199177 w 1641939"/>
                  <a:gd name="connsiteY156" fmla="*/ 1550007 h 1642277"/>
                  <a:gd name="connsiteX157" fmla="*/ 1164027 w 1641939"/>
                  <a:gd name="connsiteY157" fmla="*/ 1482748 h 1642277"/>
                  <a:gd name="connsiteX158" fmla="*/ 1208303 w 1641939"/>
                  <a:gd name="connsiteY158" fmla="*/ 1457737 h 1642277"/>
                  <a:gd name="connsiteX159" fmla="*/ 1247847 w 1641939"/>
                  <a:gd name="connsiteY159" fmla="*/ 1522630 h 1642277"/>
                  <a:gd name="connsiteX160" fmla="*/ 1294489 w 1641939"/>
                  <a:gd name="connsiteY160" fmla="*/ 1491873 h 1642277"/>
                  <a:gd name="connsiteX161" fmla="*/ 1250551 w 1641939"/>
                  <a:gd name="connsiteY161" fmla="*/ 1429684 h 1642277"/>
                  <a:gd name="connsiteX162" fmla="*/ 1291109 w 1641939"/>
                  <a:gd name="connsiteY162" fmla="*/ 1398927 h 1642277"/>
                  <a:gd name="connsiteX163" fmla="*/ 1339103 w 1641939"/>
                  <a:gd name="connsiteY163" fmla="*/ 1458075 h 1642277"/>
                  <a:gd name="connsiteX164" fmla="*/ 1381352 w 1641939"/>
                  <a:gd name="connsiteY164" fmla="*/ 1421234 h 1642277"/>
                  <a:gd name="connsiteX165" fmla="*/ 1329640 w 1641939"/>
                  <a:gd name="connsiteY165" fmla="*/ 1365466 h 1642277"/>
                  <a:gd name="connsiteX166" fmla="*/ 1365466 w 1641939"/>
                  <a:gd name="connsiteY166" fmla="*/ 1329640 h 1642277"/>
                  <a:gd name="connsiteX167" fmla="*/ 1421235 w 1641939"/>
                  <a:gd name="connsiteY167" fmla="*/ 1381690 h 1642277"/>
                  <a:gd name="connsiteX168" fmla="*/ 1458075 w 1641939"/>
                  <a:gd name="connsiteY168" fmla="*/ 1339441 h 1642277"/>
                  <a:gd name="connsiteX169" fmla="*/ 1398927 w 1641939"/>
                  <a:gd name="connsiteY169" fmla="*/ 1291447 h 1642277"/>
                  <a:gd name="connsiteX170" fmla="*/ 1429684 w 1641939"/>
                  <a:gd name="connsiteY170" fmla="*/ 1250889 h 1642277"/>
                  <a:gd name="connsiteX171" fmla="*/ 1491874 w 1641939"/>
                  <a:gd name="connsiteY171" fmla="*/ 1294827 h 1642277"/>
                  <a:gd name="connsiteX172" fmla="*/ 1522631 w 1641939"/>
                  <a:gd name="connsiteY172" fmla="*/ 1247847 h 1642277"/>
                  <a:gd name="connsiteX173" fmla="*/ 1457737 w 1641939"/>
                  <a:gd name="connsiteY173" fmla="*/ 1208302 h 1642277"/>
                  <a:gd name="connsiteX174" fmla="*/ 1482748 w 1641939"/>
                  <a:gd name="connsiteY174" fmla="*/ 1164026 h 1642277"/>
                  <a:gd name="connsiteX175" fmla="*/ 1550007 w 1641939"/>
                  <a:gd name="connsiteY175" fmla="*/ 1198839 h 1642277"/>
                  <a:gd name="connsiteX176" fmla="*/ 1574343 w 1641939"/>
                  <a:gd name="connsiteY176" fmla="*/ 1148141 h 1642277"/>
                  <a:gd name="connsiteX177" fmla="*/ 1504717 w 1641939"/>
                  <a:gd name="connsiteY177" fmla="*/ 1118060 h 1642277"/>
                  <a:gd name="connsiteX178" fmla="*/ 1523306 w 1641939"/>
                  <a:gd name="connsiteY178" fmla="*/ 1070742 h 1642277"/>
                  <a:gd name="connsiteX179" fmla="*/ 1594960 w 1641939"/>
                  <a:gd name="connsiteY179" fmla="*/ 1096091 h 1642277"/>
                  <a:gd name="connsiteX180" fmla="*/ 1611859 w 1641939"/>
                  <a:gd name="connsiteY180" fmla="*/ 1042689 h 1642277"/>
                  <a:gd name="connsiteX181" fmla="*/ 1538854 w 1641939"/>
                  <a:gd name="connsiteY181" fmla="*/ 1022072 h 1642277"/>
                  <a:gd name="connsiteX182" fmla="*/ 1551021 w 1641939"/>
                  <a:gd name="connsiteY182" fmla="*/ 972726 h 1642277"/>
                  <a:gd name="connsiteX183" fmla="*/ 1625041 w 1641939"/>
                  <a:gd name="connsiteY183" fmla="*/ 987935 h 1642277"/>
                  <a:gd name="connsiteX184" fmla="*/ 1634504 w 1641939"/>
                  <a:gd name="connsiteY184" fmla="*/ 932843 h 1642277"/>
                  <a:gd name="connsiteX185" fmla="*/ 1559471 w 1641939"/>
                  <a:gd name="connsiteY185" fmla="*/ 922704 h 1642277"/>
                  <a:gd name="connsiteX186" fmla="*/ 1564541 w 1641939"/>
                  <a:gd name="connsiteY186" fmla="*/ 872006 h 1642277"/>
                  <a:gd name="connsiteX187" fmla="*/ 1640250 w 1641939"/>
                  <a:gd name="connsiteY187" fmla="*/ 877076 h 1642277"/>
                  <a:gd name="connsiteX188" fmla="*/ 1641940 w 1641939"/>
                  <a:gd name="connsiteY188" fmla="*/ 821308 h 1642277"/>
                  <a:gd name="connsiteX189" fmla="*/ 1641940 w 1641939"/>
                  <a:gd name="connsiteY189" fmla="*/ 818942 h 1642277"/>
                  <a:gd name="connsiteX190" fmla="*/ 1566568 w 1641939"/>
                  <a:gd name="connsiteY190" fmla="*/ 818942 h 1642277"/>
                  <a:gd name="connsiteX191" fmla="*/ 820970 w 1641939"/>
                  <a:gd name="connsiteY191" fmla="*/ 1495929 h 1642277"/>
                  <a:gd name="connsiteX192" fmla="*/ 146686 w 1641939"/>
                  <a:gd name="connsiteY192" fmla="*/ 821646 h 1642277"/>
                  <a:gd name="connsiteX193" fmla="*/ 820970 w 1641939"/>
                  <a:gd name="connsiteY193" fmla="*/ 147024 h 1642277"/>
                  <a:gd name="connsiteX194" fmla="*/ 1495592 w 1641939"/>
                  <a:gd name="connsiteY194" fmla="*/ 821646 h 1642277"/>
                  <a:gd name="connsiteX195" fmla="*/ 820970 w 1641939"/>
                  <a:gd name="connsiteY195" fmla="*/ 1495929 h 1642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641939" h="1642277">
                    <a:moveTo>
                      <a:pt x="1566568" y="819280"/>
                    </a:moveTo>
                    <a:cubicBezTo>
                      <a:pt x="1566568" y="802042"/>
                      <a:pt x="1565555" y="785143"/>
                      <a:pt x="1564541" y="768582"/>
                    </a:cubicBezTo>
                    <a:lnTo>
                      <a:pt x="1639912" y="763174"/>
                    </a:lnTo>
                    <a:cubicBezTo>
                      <a:pt x="1638898" y="744585"/>
                      <a:pt x="1636870" y="725657"/>
                      <a:pt x="1634166" y="707406"/>
                    </a:cubicBezTo>
                    <a:lnTo>
                      <a:pt x="1559133" y="717884"/>
                    </a:lnTo>
                    <a:cubicBezTo>
                      <a:pt x="1556767" y="700984"/>
                      <a:pt x="1554063" y="684085"/>
                      <a:pt x="1550345" y="667862"/>
                    </a:cubicBezTo>
                    <a:lnTo>
                      <a:pt x="1624702" y="652314"/>
                    </a:lnTo>
                    <a:cubicBezTo>
                      <a:pt x="1620984" y="634063"/>
                      <a:pt x="1616253" y="615812"/>
                      <a:pt x="1611183" y="597561"/>
                    </a:cubicBezTo>
                    <a:lnTo>
                      <a:pt x="1538178" y="618516"/>
                    </a:lnTo>
                    <a:cubicBezTo>
                      <a:pt x="1533446" y="601954"/>
                      <a:pt x="1528376" y="585731"/>
                      <a:pt x="1522631" y="569846"/>
                    </a:cubicBezTo>
                    <a:lnTo>
                      <a:pt x="1594284" y="544159"/>
                    </a:lnTo>
                    <a:cubicBezTo>
                      <a:pt x="1587862" y="526921"/>
                      <a:pt x="1581102" y="509346"/>
                      <a:pt x="1573666" y="492109"/>
                    </a:cubicBezTo>
                    <a:lnTo>
                      <a:pt x="1504041" y="522865"/>
                    </a:lnTo>
                    <a:cubicBezTo>
                      <a:pt x="1496943" y="507318"/>
                      <a:pt x="1489846" y="491771"/>
                      <a:pt x="1482072" y="476899"/>
                    </a:cubicBezTo>
                    <a:lnTo>
                      <a:pt x="1549331" y="441749"/>
                    </a:lnTo>
                    <a:cubicBezTo>
                      <a:pt x="1540882" y="425187"/>
                      <a:pt x="1531418" y="408964"/>
                      <a:pt x="1521617" y="393078"/>
                    </a:cubicBezTo>
                    <a:lnTo>
                      <a:pt x="1457061" y="432623"/>
                    </a:lnTo>
                    <a:cubicBezTo>
                      <a:pt x="1447935" y="418090"/>
                      <a:pt x="1438472" y="404232"/>
                      <a:pt x="1428670" y="390375"/>
                    </a:cubicBezTo>
                    <a:lnTo>
                      <a:pt x="1490860" y="346436"/>
                    </a:lnTo>
                    <a:cubicBezTo>
                      <a:pt x="1480044" y="331227"/>
                      <a:pt x="1468552" y="316018"/>
                      <a:pt x="1457061" y="301822"/>
                    </a:cubicBezTo>
                    <a:lnTo>
                      <a:pt x="1397913" y="349816"/>
                    </a:lnTo>
                    <a:cubicBezTo>
                      <a:pt x="1387436" y="336635"/>
                      <a:pt x="1375944" y="324129"/>
                      <a:pt x="1364452" y="311624"/>
                    </a:cubicBezTo>
                    <a:lnTo>
                      <a:pt x="1419882" y="259574"/>
                    </a:lnTo>
                    <a:cubicBezTo>
                      <a:pt x="1407377" y="246054"/>
                      <a:pt x="1393857" y="232873"/>
                      <a:pt x="1380338" y="220029"/>
                    </a:cubicBezTo>
                    <a:lnTo>
                      <a:pt x="1328288" y="275797"/>
                    </a:lnTo>
                    <a:cubicBezTo>
                      <a:pt x="1316121" y="264306"/>
                      <a:pt x="1303277" y="253152"/>
                      <a:pt x="1290096" y="242336"/>
                    </a:cubicBezTo>
                    <a:lnTo>
                      <a:pt x="1338090" y="183189"/>
                    </a:lnTo>
                    <a:cubicBezTo>
                      <a:pt x="1323556" y="171697"/>
                      <a:pt x="1308347" y="160206"/>
                      <a:pt x="1293137" y="149390"/>
                    </a:cubicBezTo>
                    <a:lnTo>
                      <a:pt x="1249537" y="211580"/>
                    </a:lnTo>
                    <a:cubicBezTo>
                      <a:pt x="1235680" y="201778"/>
                      <a:pt x="1221484" y="192314"/>
                      <a:pt x="1206951" y="183527"/>
                    </a:cubicBezTo>
                    <a:lnTo>
                      <a:pt x="1246495" y="118633"/>
                    </a:lnTo>
                    <a:cubicBezTo>
                      <a:pt x="1230272" y="109170"/>
                      <a:pt x="1214048" y="99706"/>
                      <a:pt x="1197487" y="91256"/>
                    </a:cubicBezTo>
                    <a:lnTo>
                      <a:pt x="1162674" y="158854"/>
                    </a:lnTo>
                    <a:cubicBezTo>
                      <a:pt x="1147465" y="151080"/>
                      <a:pt x="1132256" y="143644"/>
                      <a:pt x="1116708" y="136885"/>
                    </a:cubicBezTo>
                    <a:lnTo>
                      <a:pt x="1146789" y="67259"/>
                    </a:lnTo>
                    <a:cubicBezTo>
                      <a:pt x="1129552" y="59824"/>
                      <a:pt x="1111976" y="53064"/>
                      <a:pt x="1094401" y="46642"/>
                    </a:cubicBezTo>
                    <a:lnTo>
                      <a:pt x="1069052" y="118295"/>
                    </a:lnTo>
                    <a:cubicBezTo>
                      <a:pt x="1053167" y="112550"/>
                      <a:pt x="1036943" y="107818"/>
                      <a:pt x="1020720" y="103086"/>
                    </a:cubicBezTo>
                    <a:lnTo>
                      <a:pt x="1040999" y="30081"/>
                    </a:lnTo>
                    <a:cubicBezTo>
                      <a:pt x="1023086" y="25011"/>
                      <a:pt x="1004835" y="20617"/>
                      <a:pt x="986583" y="16899"/>
                    </a:cubicBezTo>
                    <a:lnTo>
                      <a:pt x="971374" y="90918"/>
                    </a:lnTo>
                    <a:cubicBezTo>
                      <a:pt x="954813" y="87539"/>
                      <a:pt x="937913" y="84835"/>
                      <a:pt x="921014" y="82469"/>
                    </a:cubicBezTo>
                    <a:lnTo>
                      <a:pt x="931154" y="7436"/>
                    </a:lnTo>
                    <a:cubicBezTo>
                      <a:pt x="912902" y="5070"/>
                      <a:pt x="893975" y="3042"/>
                      <a:pt x="875386" y="2028"/>
                    </a:cubicBezTo>
                    <a:lnTo>
                      <a:pt x="870316" y="77399"/>
                    </a:lnTo>
                    <a:cubicBezTo>
                      <a:pt x="854093" y="76385"/>
                      <a:pt x="837531" y="75709"/>
                      <a:pt x="820970" y="75709"/>
                    </a:cubicBezTo>
                    <a:lnTo>
                      <a:pt x="819618" y="75709"/>
                    </a:lnTo>
                    <a:lnTo>
                      <a:pt x="819618" y="0"/>
                    </a:lnTo>
                    <a:cubicBezTo>
                      <a:pt x="800691" y="0"/>
                      <a:pt x="782101" y="676"/>
                      <a:pt x="763512" y="2028"/>
                    </a:cubicBezTo>
                    <a:lnTo>
                      <a:pt x="768920" y="77737"/>
                    </a:lnTo>
                    <a:cubicBezTo>
                      <a:pt x="751682" y="79089"/>
                      <a:pt x="734783" y="80779"/>
                      <a:pt x="718222" y="83145"/>
                    </a:cubicBezTo>
                    <a:lnTo>
                      <a:pt x="707744" y="7774"/>
                    </a:lnTo>
                    <a:cubicBezTo>
                      <a:pt x="689493" y="10478"/>
                      <a:pt x="670903" y="13519"/>
                      <a:pt x="652652" y="17575"/>
                    </a:cubicBezTo>
                    <a:lnTo>
                      <a:pt x="668200" y="91594"/>
                    </a:lnTo>
                    <a:cubicBezTo>
                      <a:pt x="651301" y="94974"/>
                      <a:pt x="635077" y="99368"/>
                      <a:pt x="618516" y="103762"/>
                    </a:cubicBezTo>
                    <a:lnTo>
                      <a:pt x="598237" y="30757"/>
                    </a:lnTo>
                    <a:cubicBezTo>
                      <a:pt x="580323" y="35827"/>
                      <a:pt x="562072" y="41572"/>
                      <a:pt x="544835" y="47656"/>
                    </a:cubicBezTo>
                    <a:lnTo>
                      <a:pt x="570184" y="119309"/>
                    </a:lnTo>
                    <a:cubicBezTo>
                      <a:pt x="554298" y="125055"/>
                      <a:pt x="538413" y="131139"/>
                      <a:pt x="522866" y="138237"/>
                    </a:cubicBezTo>
                    <a:lnTo>
                      <a:pt x="492785" y="68611"/>
                    </a:lnTo>
                    <a:cubicBezTo>
                      <a:pt x="475547" y="76047"/>
                      <a:pt x="458648" y="84159"/>
                      <a:pt x="442087" y="92608"/>
                    </a:cubicBezTo>
                    <a:lnTo>
                      <a:pt x="477237" y="160206"/>
                    </a:lnTo>
                    <a:cubicBezTo>
                      <a:pt x="462028" y="167979"/>
                      <a:pt x="447494" y="176091"/>
                      <a:pt x="432961" y="184879"/>
                    </a:cubicBezTo>
                    <a:lnTo>
                      <a:pt x="393417" y="120323"/>
                    </a:lnTo>
                    <a:cubicBezTo>
                      <a:pt x="377531" y="129787"/>
                      <a:pt x="361646" y="140264"/>
                      <a:pt x="346436" y="151080"/>
                    </a:cubicBezTo>
                    <a:lnTo>
                      <a:pt x="390713" y="213270"/>
                    </a:lnTo>
                    <a:cubicBezTo>
                      <a:pt x="376855" y="223071"/>
                      <a:pt x="363336" y="233211"/>
                      <a:pt x="350154" y="243688"/>
                    </a:cubicBezTo>
                    <a:lnTo>
                      <a:pt x="302160" y="184879"/>
                    </a:lnTo>
                    <a:cubicBezTo>
                      <a:pt x="287627" y="196708"/>
                      <a:pt x="273431" y="209214"/>
                      <a:pt x="259912" y="221719"/>
                    </a:cubicBezTo>
                    <a:lnTo>
                      <a:pt x="311962" y="277487"/>
                    </a:lnTo>
                    <a:cubicBezTo>
                      <a:pt x="299456" y="288979"/>
                      <a:pt x="287627" y="301146"/>
                      <a:pt x="275797" y="313314"/>
                    </a:cubicBezTo>
                    <a:lnTo>
                      <a:pt x="220368" y="261602"/>
                    </a:lnTo>
                    <a:cubicBezTo>
                      <a:pt x="207524" y="275121"/>
                      <a:pt x="195356" y="289317"/>
                      <a:pt x="183527" y="303850"/>
                    </a:cubicBezTo>
                    <a:lnTo>
                      <a:pt x="242674" y="351844"/>
                    </a:lnTo>
                    <a:cubicBezTo>
                      <a:pt x="231859" y="365026"/>
                      <a:pt x="221719" y="378545"/>
                      <a:pt x="211918" y="392402"/>
                    </a:cubicBezTo>
                    <a:lnTo>
                      <a:pt x="149728" y="348464"/>
                    </a:lnTo>
                    <a:cubicBezTo>
                      <a:pt x="138913" y="363674"/>
                      <a:pt x="128435" y="379559"/>
                      <a:pt x="118971" y="395444"/>
                    </a:cubicBezTo>
                    <a:lnTo>
                      <a:pt x="183865" y="434651"/>
                    </a:lnTo>
                    <a:cubicBezTo>
                      <a:pt x="175077" y="449184"/>
                      <a:pt x="166966" y="464056"/>
                      <a:pt x="158854" y="479265"/>
                    </a:cubicBezTo>
                    <a:lnTo>
                      <a:pt x="91594" y="444452"/>
                    </a:lnTo>
                    <a:cubicBezTo>
                      <a:pt x="82807" y="460676"/>
                      <a:pt x="74695" y="477913"/>
                      <a:pt x="67259" y="495150"/>
                    </a:cubicBezTo>
                    <a:lnTo>
                      <a:pt x="136885" y="525231"/>
                    </a:lnTo>
                    <a:cubicBezTo>
                      <a:pt x="130125" y="540779"/>
                      <a:pt x="124041" y="556664"/>
                      <a:pt x="118295" y="572549"/>
                    </a:cubicBezTo>
                    <a:lnTo>
                      <a:pt x="46980" y="547200"/>
                    </a:lnTo>
                    <a:cubicBezTo>
                      <a:pt x="40558" y="564776"/>
                      <a:pt x="34813" y="582689"/>
                      <a:pt x="30081" y="600602"/>
                    </a:cubicBezTo>
                    <a:lnTo>
                      <a:pt x="103086" y="621220"/>
                    </a:lnTo>
                    <a:cubicBezTo>
                      <a:pt x="98692" y="637443"/>
                      <a:pt x="94298" y="653666"/>
                      <a:pt x="90919" y="670566"/>
                    </a:cubicBezTo>
                    <a:lnTo>
                      <a:pt x="16899" y="655356"/>
                    </a:lnTo>
                    <a:cubicBezTo>
                      <a:pt x="13181" y="673608"/>
                      <a:pt x="9802" y="692197"/>
                      <a:pt x="7436" y="710448"/>
                    </a:cubicBezTo>
                    <a:lnTo>
                      <a:pt x="82469" y="720588"/>
                    </a:lnTo>
                    <a:cubicBezTo>
                      <a:pt x="80441" y="737487"/>
                      <a:pt x="78751" y="754386"/>
                      <a:pt x="77399" y="771286"/>
                    </a:cubicBezTo>
                    <a:lnTo>
                      <a:pt x="1690" y="766216"/>
                    </a:lnTo>
                    <a:cubicBezTo>
                      <a:pt x="1014" y="776693"/>
                      <a:pt x="676" y="786833"/>
                      <a:pt x="338" y="797311"/>
                    </a:cubicBezTo>
                    <a:cubicBezTo>
                      <a:pt x="0" y="805422"/>
                      <a:pt x="0" y="813196"/>
                      <a:pt x="0" y="821308"/>
                    </a:cubicBezTo>
                    <a:lnTo>
                      <a:pt x="0" y="821984"/>
                    </a:lnTo>
                    <a:lnTo>
                      <a:pt x="75709" y="821984"/>
                    </a:lnTo>
                    <a:cubicBezTo>
                      <a:pt x="75709" y="829757"/>
                      <a:pt x="75709" y="837193"/>
                      <a:pt x="76385" y="844967"/>
                    </a:cubicBezTo>
                    <a:cubicBezTo>
                      <a:pt x="76385" y="854430"/>
                      <a:pt x="77061" y="863556"/>
                      <a:pt x="77737" y="873020"/>
                    </a:cubicBezTo>
                    <a:lnTo>
                      <a:pt x="2028" y="878090"/>
                    </a:lnTo>
                    <a:cubicBezTo>
                      <a:pt x="3380" y="896679"/>
                      <a:pt x="5070" y="915606"/>
                      <a:pt x="7774" y="933857"/>
                    </a:cubicBezTo>
                    <a:lnTo>
                      <a:pt x="82807" y="923718"/>
                    </a:lnTo>
                    <a:cubicBezTo>
                      <a:pt x="85173" y="940617"/>
                      <a:pt x="87876" y="957178"/>
                      <a:pt x="91256" y="973740"/>
                    </a:cubicBezTo>
                    <a:lnTo>
                      <a:pt x="17237" y="989287"/>
                    </a:lnTo>
                    <a:cubicBezTo>
                      <a:pt x="20955" y="1007200"/>
                      <a:pt x="25349" y="1025790"/>
                      <a:pt x="30419" y="1043703"/>
                    </a:cubicBezTo>
                    <a:lnTo>
                      <a:pt x="103762" y="1023086"/>
                    </a:lnTo>
                    <a:cubicBezTo>
                      <a:pt x="108156" y="1039309"/>
                      <a:pt x="113225" y="1055533"/>
                      <a:pt x="118971" y="1071418"/>
                    </a:cubicBezTo>
                    <a:lnTo>
                      <a:pt x="47656" y="1097105"/>
                    </a:lnTo>
                    <a:cubicBezTo>
                      <a:pt x="53740" y="1114680"/>
                      <a:pt x="60838" y="1131918"/>
                      <a:pt x="68273" y="1149155"/>
                    </a:cubicBezTo>
                    <a:lnTo>
                      <a:pt x="137899" y="1118736"/>
                    </a:lnTo>
                    <a:cubicBezTo>
                      <a:pt x="144658" y="1134284"/>
                      <a:pt x="151756" y="1149493"/>
                      <a:pt x="159868" y="1164702"/>
                    </a:cubicBezTo>
                    <a:lnTo>
                      <a:pt x="92270" y="1199515"/>
                    </a:lnTo>
                    <a:cubicBezTo>
                      <a:pt x="100720" y="1216076"/>
                      <a:pt x="110184" y="1232638"/>
                      <a:pt x="119647" y="1248523"/>
                    </a:cubicBezTo>
                    <a:lnTo>
                      <a:pt x="184540" y="1208979"/>
                    </a:lnTo>
                    <a:cubicBezTo>
                      <a:pt x="193328" y="1223174"/>
                      <a:pt x="202792" y="1237369"/>
                      <a:pt x="212593" y="1251227"/>
                    </a:cubicBezTo>
                    <a:lnTo>
                      <a:pt x="150742" y="1295165"/>
                    </a:lnTo>
                    <a:cubicBezTo>
                      <a:pt x="161220" y="1310375"/>
                      <a:pt x="172711" y="1325246"/>
                      <a:pt x="184540" y="1339779"/>
                    </a:cubicBezTo>
                    <a:lnTo>
                      <a:pt x="243350" y="1291785"/>
                    </a:lnTo>
                    <a:cubicBezTo>
                      <a:pt x="254166" y="1304967"/>
                      <a:pt x="265319" y="1317472"/>
                      <a:pt x="276811" y="1329978"/>
                    </a:cubicBezTo>
                    <a:lnTo>
                      <a:pt x="221381" y="1382028"/>
                    </a:lnTo>
                    <a:cubicBezTo>
                      <a:pt x="234225" y="1395547"/>
                      <a:pt x="247406" y="1408729"/>
                      <a:pt x="260926" y="1421572"/>
                    </a:cubicBezTo>
                    <a:lnTo>
                      <a:pt x="312976" y="1365804"/>
                    </a:lnTo>
                    <a:cubicBezTo>
                      <a:pt x="325481" y="1377634"/>
                      <a:pt x="337987" y="1388787"/>
                      <a:pt x="351168" y="1399265"/>
                    </a:cubicBezTo>
                    <a:lnTo>
                      <a:pt x="303174" y="1458413"/>
                    </a:lnTo>
                    <a:cubicBezTo>
                      <a:pt x="317707" y="1470242"/>
                      <a:pt x="332579" y="1481396"/>
                      <a:pt x="347788" y="1492211"/>
                    </a:cubicBezTo>
                    <a:lnTo>
                      <a:pt x="391727" y="1430022"/>
                    </a:lnTo>
                    <a:cubicBezTo>
                      <a:pt x="405584" y="1439824"/>
                      <a:pt x="419780" y="1449287"/>
                      <a:pt x="434313" y="1458075"/>
                    </a:cubicBezTo>
                    <a:lnTo>
                      <a:pt x="394768" y="1522968"/>
                    </a:lnTo>
                    <a:cubicBezTo>
                      <a:pt x="410654" y="1532770"/>
                      <a:pt x="427215" y="1541895"/>
                      <a:pt x="443777" y="1550683"/>
                    </a:cubicBezTo>
                    <a:lnTo>
                      <a:pt x="478589" y="1483086"/>
                    </a:lnTo>
                    <a:cubicBezTo>
                      <a:pt x="493799" y="1490859"/>
                      <a:pt x="509008" y="1498295"/>
                      <a:pt x="524556" y="1505055"/>
                    </a:cubicBezTo>
                    <a:lnTo>
                      <a:pt x="494475" y="1574680"/>
                    </a:lnTo>
                    <a:cubicBezTo>
                      <a:pt x="511374" y="1582116"/>
                      <a:pt x="528949" y="1588876"/>
                      <a:pt x="546525" y="1595297"/>
                    </a:cubicBezTo>
                    <a:lnTo>
                      <a:pt x="571874" y="1523644"/>
                    </a:lnTo>
                    <a:cubicBezTo>
                      <a:pt x="587759" y="1529390"/>
                      <a:pt x="603982" y="1534460"/>
                      <a:pt x="620544" y="1538853"/>
                    </a:cubicBezTo>
                    <a:lnTo>
                      <a:pt x="600264" y="1612197"/>
                    </a:lnTo>
                    <a:cubicBezTo>
                      <a:pt x="618178" y="1617267"/>
                      <a:pt x="636429" y="1621660"/>
                      <a:pt x="654680" y="1625378"/>
                    </a:cubicBezTo>
                    <a:lnTo>
                      <a:pt x="669890" y="1551021"/>
                    </a:lnTo>
                    <a:cubicBezTo>
                      <a:pt x="686451" y="1554739"/>
                      <a:pt x="703013" y="1557105"/>
                      <a:pt x="719912" y="1559471"/>
                    </a:cubicBezTo>
                    <a:lnTo>
                      <a:pt x="709772" y="1634842"/>
                    </a:lnTo>
                    <a:cubicBezTo>
                      <a:pt x="728362" y="1637208"/>
                      <a:pt x="746950" y="1639236"/>
                      <a:pt x="765540" y="1640249"/>
                    </a:cubicBezTo>
                    <a:lnTo>
                      <a:pt x="770610" y="1564540"/>
                    </a:lnTo>
                    <a:cubicBezTo>
                      <a:pt x="787171" y="1565892"/>
                      <a:pt x="804070" y="1566569"/>
                      <a:pt x="820970" y="1566569"/>
                    </a:cubicBezTo>
                    <a:lnTo>
                      <a:pt x="821646" y="1566569"/>
                    </a:lnTo>
                    <a:lnTo>
                      <a:pt x="821646" y="1642278"/>
                    </a:lnTo>
                    <a:cubicBezTo>
                      <a:pt x="840235" y="1642278"/>
                      <a:pt x="859162" y="1641601"/>
                      <a:pt x="877413" y="1640249"/>
                    </a:cubicBezTo>
                    <a:lnTo>
                      <a:pt x="872344" y="1564540"/>
                    </a:lnTo>
                    <a:cubicBezTo>
                      <a:pt x="889243" y="1563527"/>
                      <a:pt x="906142" y="1561837"/>
                      <a:pt x="923042" y="1559471"/>
                    </a:cubicBezTo>
                    <a:lnTo>
                      <a:pt x="933182" y="1634504"/>
                    </a:lnTo>
                    <a:cubicBezTo>
                      <a:pt x="951771" y="1632138"/>
                      <a:pt x="970360" y="1628758"/>
                      <a:pt x="988611" y="1625040"/>
                    </a:cubicBezTo>
                    <a:lnTo>
                      <a:pt x="973064" y="1551021"/>
                    </a:lnTo>
                    <a:cubicBezTo>
                      <a:pt x="989963" y="1547641"/>
                      <a:pt x="1006187" y="1543247"/>
                      <a:pt x="1022410" y="1538853"/>
                    </a:cubicBezTo>
                    <a:lnTo>
                      <a:pt x="1043027" y="1611859"/>
                    </a:lnTo>
                    <a:cubicBezTo>
                      <a:pt x="1060941" y="1606789"/>
                      <a:pt x="1078854" y="1601043"/>
                      <a:pt x="1096429" y="1594959"/>
                    </a:cubicBezTo>
                    <a:lnTo>
                      <a:pt x="1071080" y="1523306"/>
                    </a:lnTo>
                    <a:cubicBezTo>
                      <a:pt x="1086966" y="1517560"/>
                      <a:pt x="1102851" y="1511477"/>
                      <a:pt x="1118060" y="1504717"/>
                    </a:cubicBezTo>
                    <a:lnTo>
                      <a:pt x="1148479" y="1574342"/>
                    </a:lnTo>
                    <a:cubicBezTo>
                      <a:pt x="1165716" y="1566906"/>
                      <a:pt x="1182615" y="1558795"/>
                      <a:pt x="1199177" y="1550007"/>
                    </a:cubicBezTo>
                    <a:lnTo>
                      <a:pt x="1164027" y="1482748"/>
                    </a:lnTo>
                    <a:cubicBezTo>
                      <a:pt x="1178898" y="1474974"/>
                      <a:pt x="1193769" y="1466524"/>
                      <a:pt x="1208303" y="1457737"/>
                    </a:cubicBezTo>
                    <a:lnTo>
                      <a:pt x="1247847" y="1522630"/>
                    </a:lnTo>
                    <a:cubicBezTo>
                      <a:pt x="1263733" y="1512829"/>
                      <a:pt x="1279618" y="1502689"/>
                      <a:pt x="1294489" y="1491873"/>
                    </a:cubicBezTo>
                    <a:lnTo>
                      <a:pt x="1250551" y="1429684"/>
                    </a:lnTo>
                    <a:cubicBezTo>
                      <a:pt x="1264409" y="1419882"/>
                      <a:pt x="1278266" y="1409742"/>
                      <a:pt x="1291109" y="1398927"/>
                    </a:cubicBezTo>
                    <a:lnTo>
                      <a:pt x="1339103" y="1458075"/>
                    </a:lnTo>
                    <a:cubicBezTo>
                      <a:pt x="1353637" y="1446245"/>
                      <a:pt x="1367833" y="1433740"/>
                      <a:pt x="1381352" y="1421234"/>
                    </a:cubicBezTo>
                    <a:lnTo>
                      <a:pt x="1329640" y="1365466"/>
                    </a:lnTo>
                    <a:cubicBezTo>
                      <a:pt x="1341807" y="1353975"/>
                      <a:pt x="1353975" y="1342145"/>
                      <a:pt x="1365466" y="1329640"/>
                    </a:cubicBezTo>
                    <a:lnTo>
                      <a:pt x="1421235" y="1381690"/>
                    </a:lnTo>
                    <a:cubicBezTo>
                      <a:pt x="1433740" y="1367832"/>
                      <a:pt x="1446245" y="1353637"/>
                      <a:pt x="1458075" y="1339441"/>
                    </a:cubicBezTo>
                    <a:lnTo>
                      <a:pt x="1398927" y="1291447"/>
                    </a:lnTo>
                    <a:cubicBezTo>
                      <a:pt x="1409743" y="1278266"/>
                      <a:pt x="1419882" y="1264746"/>
                      <a:pt x="1429684" y="1250889"/>
                    </a:cubicBezTo>
                    <a:lnTo>
                      <a:pt x="1491874" y="1294827"/>
                    </a:lnTo>
                    <a:cubicBezTo>
                      <a:pt x="1502689" y="1279618"/>
                      <a:pt x="1512829" y="1263732"/>
                      <a:pt x="1522631" y="1247847"/>
                    </a:cubicBezTo>
                    <a:lnTo>
                      <a:pt x="1457737" y="1208302"/>
                    </a:lnTo>
                    <a:cubicBezTo>
                      <a:pt x="1466525" y="1193769"/>
                      <a:pt x="1474974" y="1178898"/>
                      <a:pt x="1482748" y="1164026"/>
                    </a:cubicBezTo>
                    <a:lnTo>
                      <a:pt x="1550007" y="1198839"/>
                    </a:lnTo>
                    <a:cubicBezTo>
                      <a:pt x="1558795" y="1182278"/>
                      <a:pt x="1566907" y="1165378"/>
                      <a:pt x="1574343" y="1148141"/>
                    </a:cubicBezTo>
                    <a:lnTo>
                      <a:pt x="1504717" y="1118060"/>
                    </a:lnTo>
                    <a:cubicBezTo>
                      <a:pt x="1511477" y="1102513"/>
                      <a:pt x="1517560" y="1086627"/>
                      <a:pt x="1523306" y="1070742"/>
                    </a:cubicBezTo>
                    <a:lnTo>
                      <a:pt x="1594960" y="1096091"/>
                    </a:lnTo>
                    <a:cubicBezTo>
                      <a:pt x="1601043" y="1078516"/>
                      <a:pt x="1606789" y="1060602"/>
                      <a:pt x="1611859" y="1042689"/>
                    </a:cubicBezTo>
                    <a:lnTo>
                      <a:pt x="1538854" y="1022072"/>
                    </a:lnTo>
                    <a:cubicBezTo>
                      <a:pt x="1543248" y="1005848"/>
                      <a:pt x="1547303" y="989625"/>
                      <a:pt x="1551021" y="972726"/>
                    </a:cubicBezTo>
                    <a:lnTo>
                      <a:pt x="1625041" y="987935"/>
                    </a:lnTo>
                    <a:cubicBezTo>
                      <a:pt x="1628758" y="970022"/>
                      <a:pt x="1632138" y="951433"/>
                      <a:pt x="1634504" y="932843"/>
                    </a:cubicBezTo>
                    <a:lnTo>
                      <a:pt x="1559471" y="922704"/>
                    </a:lnTo>
                    <a:cubicBezTo>
                      <a:pt x="1561499" y="905804"/>
                      <a:pt x="1563527" y="888905"/>
                      <a:pt x="1564541" y="872006"/>
                    </a:cubicBezTo>
                    <a:lnTo>
                      <a:pt x="1640250" y="877076"/>
                    </a:lnTo>
                    <a:cubicBezTo>
                      <a:pt x="1641602" y="858486"/>
                      <a:pt x="1641940" y="839897"/>
                      <a:pt x="1641940" y="821308"/>
                    </a:cubicBezTo>
                    <a:lnTo>
                      <a:pt x="1641940" y="818942"/>
                    </a:lnTo>
                    <a:lnTo>
                      <a:pt x="1566568" y="818942"/>
                    </a:lnTo>
                    <a:close/>
                    <a:moveTo>
                      <a:pt x="820970" y="1495929"/>
                    </a:moveTo>
                    <a:cubicBezTo>
                      <a:pt x="449184" y="1495929"/>
                      <a:pt x="146686" y="1193431"/>
                      <a:pt x="146686" y="821646"/>
                    </a:cubicBezTo>
                    <a:cubicBezTo>
                      <a:pt x="146686" y="449860"/>
                      <a:pt x="449184" y="147024"/>
                      <a:pt x="820970" y="147024"/>
                    </a:cubicBezTo>
                    <a:cubicBezTo>
                      <a:pt x="1192755" y="147024"/>
                      <a:pt x="1495592" y="449522"/>
                      <a:pt x="1495592" y="821646"/>
                    </a:cubicBezTo>
                    <a:cubicBezTo>
                      <a:pt x="1495592" y="1193769"/>
                      <a:pt x="1192755" y="1495929"/>
                      <a:pt x="820970" y="1495929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6801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30" name="Graphic 5">
              <a:extLst>
                <a:ext uri="{FF2B5EF4-FFF2-40B4-BE49-F238E27FC236}">
                  <a16:creationId xmlns:a16="http://schemas.microsoft.com/office/drawing/2014/main" id="{0552098B-CE9E-2842-8E1C-8390D2B140E4}"/>
                </a:ext>
              </a:extLst>
            </p:cNvPr>
            <p:cNvGrpSpPr/>
            <p:nvPr/>
          </p:nvGrpSpPr>
          <p:grpSpPr>
            <a:xfrm>
              <a:off x="8483683" y="2216639"/>
              <a:ext cx="2709302" cy="2709301"/>
              <a:chOff x="8483683" y="2216639"/>
              <a:chExt cx="2709302" cy="2709301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3A925B1-B6C5-91AF-C973-DB2CFADB0CD9}"/>
                  </a:ext>
                </a:extLst>
              </p:cNvPr>
              <p:cNvSpPr/>
              <p:nvPr/>
            </p:nvSpPr>
            <p:spPr>
              <a:xfrm>
                <a:off x="9337775" y="3070393"/>
                <a:ext cx="1001454" cy="1001792"/>
              </a:xfrm>
              <a:custGeom>
                <a:avLst/>
                <a:gdLst>
                  <a:gd name="connsiteX0" fmla="*/ 500559 w 1001454"/>
                  <a:gd name="connsiteY0" fmla="*/ 0 h 1001792"/>
                  <a:gd name="connsiteX1" fmla="*/ 0 w 1001454"/>
                  <a:gd name="connsiteY1" fmla="*/ 500896 h 1001792"/>
                  <a:gd name="connsiteX2" fmla="*/ 500559 w 1001454"/>
                  <a:gd name="connsiteY2" fmla="*/ 1001793 h 1001792"/>
                  <a:gd name="connsiteX3" fmla="*/ 1001455 w 1001454"/>
                  <a:gd name="connsiteY3" fmla="*/ 500896 h 1001792"/>
                  <a:gd name="connsiteX4" fmla="*/ 500559 w 1001454"/>
                  <a:gd name="connsiteY4" fmla="*/ 0 h 1001792"/>
                  <a:gd name="connsiteX5" fmla="*/ 500559 w 1001454"/>
                  <a:gd name="connsiteY5" fmla="*/ 863894 h 1001792"/>
                  <a:gd name="connsiteX6" fmla="*/ 137899 w 1001454"/>
                  <a:gd name="connsiteY6" fmla="*/ 500896 h 1001792"/>
                  <a:gd name="connsiteX7" fmla="*/ 500559 w 1001454"/>
                  <a:gd name="connsiteY7" fmla="*/ 137899 h 1001792"/>
                  <a:gd name="connsiteX8" fmla="*/ 863556 w 1001454"/>
                  <a:gd name="connsiteY8" fmla="*/ 500896 h 1001792"/>
                  <a:gd name="connsiteX9" fmla="*/ 500559 w 1001454"/>
                  <a:gd name="connsiteY9" fmla="*/ 863894 h 1001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1454" h="1001792">
                    <a:moveTo>
                      <a:pt x="500559" y="0"/>
                    </a:moveTo>
                    <a:cubicBezTo>
                      <a:pt x="224424" y="0"/>
                      <a:pt x="0" y="224761"/>
                      <a:pt x="0" y="500896"/>
                    </a:cubicBezTo>
                    <a:cubicBezTo>
                      <a:pt x="0" y="777032"/>
                      <a:pt x="224424" y="1001793"/>
                      <a:pt x="500559" y="1001793"/>
                    </a:cubicBezTo>
                    <a:cubicBezTo>
                      <a:pt x="776694" y="1001793"/>
                      <a:pt x="1001455" y="777032"/>
                      <a:pt x="1001455" y="500896"/>
                    </a:cubicBezTo>
                    <a:cubicBezTo>
                      <a:pt x="1001455" y="224761"/>
                      <a:pt x="776694" y="0"/>
                      <a:pt x="500559" y="0"/>
                    </a:cubicBezTo>
                    <a:close/>
                    <a:moveTo>
                      <a:pt x="500559" y="863894"/>
                    </a:moveTo>
                    <a:cubicBezTo>
                      <a:pt x="300471" y="863894"/>
                      <a:pt x="137899" y="700985"/>
                      <a:pt x="137899" y="500896"/>
                    </a:cubicBezTo>
                    <a:cubicBezTo>
                      <a:pt x="137899" y="300808"/>
                      <a:pt x="300471" y="137899"/>
                      <a:pt x="500559" y="137899"/>
                    </a:cubicBezTo>
                    <a:cubicBezTo>
                      <a:pt x="700647" y="137899"/>
                      <a:pt x="863556" y="300808"/>
                      <a:pt x="863556" y="500896"/>
                    </a:cubicBezTo>
                    <a:cubicBezTo>
                      <a:pt x="863556" y="700985"/>
                      <a:pt x="700647" y="863894"/>
                      <a:pt x="500559" y="863894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6801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36A4A46C-423B-4D56-3DA4-0548BF3879B8}"/>
                  </a:ext>
                </a:extLst>
              </p:cNvPr>
              <p:cNvSpPr/>
              <p:nvPr/>
            </p:nvSpPr>
            <p:spPr>
              <a:xfrm>
                <a:off x="9130927" y="2863884"/>
                <a:ext cx="1415150" cy="1415150"/>
              </a:xfrm>
              <a:custGeom>
                <a:avLst/>
                <a:gdLst>
                  <a:gd name="connsiteX0" fmla="*/ 707407 w 1415150"/>
                  <a:gd name="connsiteY0" fmla="*/ 0 h 1415150"/>
                  <a:gd name="connsiteX1" fmla="*/ 0 w 1415150"/>
                  <a:gd name="connsiteY1" fmla="*/ 707406 h 1415150"/>
                  <a:gd name="connsiteX2" fmla="*/ 707407 w 1415150"/>
                  <a:gd name="connsiteY2" fmla="*/ 1415150 h 1415150"/>
                  <a:gd name="connsiteX3" fmla="*/ 1415151 w 1415150"/>
                  <a:gd name="connsiteY3" fmla="*/ 707406 h 1415150"/>
                  <a:gd name="connsiteX4" fmla="*/ 707407 w 1415150"/>
                  <a:gd name="connsiteY4" fmla="*/ 0 h 1415150"/>
                  <a:gd name="connsiteX5" fmla="*/ 707407 w 1415150"/>
                  <a:gd name="connsiteY5" fmla="*/ 1382704 h 1415150"/>
                  <a:gd name="connsiteX6" fmla="*/ 32447 w 1415150"/>
                  <a:gd name="connsiteY6" fmla="*/ 707406 h 1415150"/>
                  <a:gd name="connsiteX7" fmla="*/ 707407 w 1415150"/>
                  <a:gd name="connsiteY7" fmla="*/ 32447 h 1415150"/>
                  <a:gd name="connsiteX8" fmla="*/ 1382704 w 1415150"/>
                  <a:gd name="connsiteY8" fmla="*/ 707406 h 1415150"/>
                  <a:gd name="connsiteX9" fmla="*/ 707407 w 1415150"/>
                  <a:gd name="connsiteY9" fmla="*/ 1382704 h 141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15150" h="1415150">
                    <a:moveTo>
                      <a:pt x="707407" y="0"/>
                    </a:moveTo>
                    <a:cubicBezTo>
                      <a:pt x="317370" y="0"/>
                      <a:pt x="0" y="317370"/>
                      <a:pt x="0" y="707406"/>
                    </a:cubicBezTo>
                    <a:cubicBezTo>
                      <a:pt x="0" y="1097443"/>
                      <a:pt x="317370" y="1415150"/>
                      <a:pt x="707407" y="1415150"/>
                    </a:cubicBezTo>
                    <a:cubicBezTo>
                      <a:pt x="1097443" y="1415150"/>
                      <a:pt x="1415151" y="1097781"/>
                      <a:pt x="1415151" y="707406"/>
                    </a:cubicBezTo>
                    <a:cubicBezTo>
                      <a:pt x="1415151" y="317031"/>
                      <a:pt x="1097781" y="0"/>
                      <a:pt x="707407" y="0"/>
                    </a:cubicBezTo>
                    <a:close/>
                    <a:moveTo>
                      <a:pt x="707407" y="1382704"/>
                    </a:moveTo>
                    <a:cubicBezTo>
                      <a:pt x="335283" y="1382704"/>
                      <a:pt x="32447" y="1079868"/>
                      <a:pt x="32447" y="707406"/>
                    </a:cubicBezTo>
                    <a:cubicBezTo>
                      <a:pt x="32447" y="334945"/>
                      <a:pt x="335283" y="32447"/>
                      <a:pt x="707407" y="32447"/>
                    </a:cubicBezTo>
                    <a:cubicBezTo>
                      <a:pt x="1079530" y="32447"/>
                      <a:pt x="1382704" y="335283"/>
                      <a:pt x="1382704" y="707406"/>
                    </a:cubicBezTo>
                    <a:cubicBezTo>
                      <a:pt x="1382704" y="1079530"/>
                      <a:pt x="1079868" y="1382704"/>
                      <a:pt x="707407" y="1382704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6801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1F4CF666-43E3-7BDC-A041-B8996CA6884A}"/>
                  </a:ext>
                </a:extLst>
              </p:cNvPr>
              <p:cNvSpPr/>
              <p:nvPr/>
            </p:nvSpPr>
            <p:spPr>
              <a:xfrm>
                <a:off x="8483683" y="2216639"/>
                <a:ext cx="2709302" cy="2709301"/>
              </a:xfrm>
              <a:custGeom>
                <a:avLst/>
                <a:gdLst>
                  <a:gd name="connsiteX0" fmla="*/ 2590331 w 2709302"/>
                  <a:gd name="connsiteY0" fmla="*/ 1351947 h 2709301"/>
                  <a:gd name="connsiteX1" fmla="*/ 2519353 w 2709302"/>
                  <a:gd name="connsiteY1" fmla="*/ 942307 h 2709301"/>
                  <a:gd name="connsiteX2" fmla="*/ 2631903 w 2709302"/>
                  <a:gd name="connsiteY2" fmla="*/ 902425 h 2709301"/>
                  <a:gd name="connsiteX3" fmla="*/ 2526451 w 2709302"/>
                  <a:gd name="connsiteY3" fmla="*/ 674621 h 2709301"/>
                  <a:gd name="connsiteX4" fmla="*/ 2423027 w 2709302"/>
                  <a:gd name="connsiteY4" fmla="*/ 735121 h 2709301"/>
                  <a:gd name="connsiteX5" fmla="*/ 2157031 w 2709302"/>
                  <a:gd name="connsiteY5" fmla="*/ 416062 h 2709301"/>
                  <a:gd name="connsiteX6" fmla="*/ 2234768 w 2709302"/>
                  <a:gd name="connsiteY6" fmla="*/ 325143 h 2709301"/>
                  <a:gd name="connsiteX7" fmla="*/ 2029949 w 2709302"/>
                  <a:gd name="connsiteY7" fmla="*/ 180147 h 2709301"/>
                  <a:gd name="connsiteX8" fmla="*/ 1970125 w 2709302"/>
                  <a:gd name="connsiteY8" fmla="*/ 283909 h 2709301"/>
                  <a:gd name="connsiteX9" fmla="*/ 1580426 w 2709302"/>
                  <a:gd name="connsiteY9" fmla="*/ 140264 h 2709301"/>
                  <a:gd name="connsiteX10" fmla="*/ 1602057 w 2709302"/>
                  <a:gd name="connsiteY10" fmla="*/ 22645 h 2709301"/>
                  <a:gd name="connsiteX11" fmla="*/ 1354651 w 2709302"/>
                  <a:gd name="connsiteY11" fmla="*/ 0 h 2709301"/>
                  <a:gd name="connsiteX12" fmla="*/ 1352623 w 2709302"/>
                  <a:gd name="connsiteY12" fmla="*/ 0 h 2709301"/>
                  <a:gd name="connsiteX13" fmla="*/ 1352623 w 2709302"/>
                  <a:gd name="connsiteY13" fmla="*/ 119309 h 2709301"/>
                  <a:gd name="connsiteX14" fmla="*/ 943321 w 2709302"/>
                  <a:gd name="connsiteY14" fmla="*/ 189949 h 2709301"/>
                  <a:gd name="connsiteX15" fmla="*/ 903439 w 2709302"/>
                  <a:gd name="connsiteY15" fmla="*/ 77061 h 2709301"/>
                  <a:gd name="connsiteX16" fmla="*/ 675635 w 2709302"/>
                  <a:gd name="connsiteY16" fmla="*/ 182513 h 2709301"/>
                  <a:gd name="connsiteX17" fmla="*/ 735797 w 2709302"/>
                  <a:gd name="connsiteY17" fmla="*/ 286275 h 2709301"/>
                  <a:gd name="connsiteX18" fmla="*/ 416738 w 2709302"/>
                  <a:gd name="connsiteY18" fmla="*/ 551932 h 2709301"/>
                  <a:gd name="connsiteX19" fmla="*/ 325481 w 2709302"/>
                  <a:gd name="connsiteY19" fmla="*/ 473857 h 2709301"/>
                  <a:gd name="connsiteX20" fmla="*/ 180485 w 2709302"/>
                  <a:gd name="connsiteY20" fmla="*/ 678677 h 2709301"/>
                  <a:gd name="connsiteX21" fmla="*/ 284585 w 2709302"/>
                  <a:gd name="connsiteY21" fmla="*/ 738839 h 2709301"/>
                  <a:gd name="connsiteX22" fmla="*/ 140264 w 2709302"/>
                  <a:gd name="connsiteY22" fmla="*/ 1128200 h 2709301"/>
                  <a:gd name="connsiteX23" fmla="*/ 22983 w 2709302"/>
                  <a:gd name="connsiteY23" fmla="*/ 1106569 h 2709301"/>
                  <a:gd name="connsiteX24" fmla="*/ 0 w 2709302"/>
                  <a:gd name="connsiteY24" fmla="*/ 1354651 h 2709301"/>
                  <a:gd name="connsiteX25" fmla="*/ 0 w 2709302"/>
                  <a:gd name="connsiteY25" fmla="*/ 1356341 h 2709301"/>
                  <a:gd name="connsiteX26" fmla="*/ 119309 w 2709302"/>
                  <a:gd name="connsiteY26" fmla="*/ 1356341 h 2709301"/>
                  <a:gd name="connsiteX27" fmla="*/ 189611 w 2709302"/>
                  <a:gd name="connsiteY27" fmla="*/ 1765643 h 2709301"/>
                  <a:gd name="connsiteX28" fmla="*/ 77061 w 2709302"/>
                  <a:gd name="connsiteY28" fmla="*/ 1805525 h 2709301"/>
                  <a:gd name="connsiteX29" fmla="*/ 182175 w 2709302"/>
                  <a:gd name="connsiteY29" fmla="*/ 2033328 h 2709301"/>
                  <a:gd name="connsiteX30" fmla="*/ 285937 w 2709302"/>
                  <a:gd name="connsiteY30" fmla="*/ 1973167 h 2709301"/>
                  <a:gd name="connsiteX31" fmla="*/ 551594 w 2709302"/>
                  <a:gd name="connsiteY31" fmla="*/ 2292226 h 2709301"/>
                  <a:gd name="connsiteX32" fmla="*/ 473519 w 2709302"/>
                  <a:gd name="connsiteY32" fmla="*/ 2383482 h 2709301"/>
                  <a:gd name="connsiteX33" fmla="*/ 678001 w 2709302"/>
                  <a:gd name="connsiteY33" fmla="*/ 2528479 h 2709301"/>
                  <a:gd name="connsiteX34" fmla="*/ 738163 w 2709302"/>
                  <a:gd name="connsiteY34" fmla="*/ 2424717 h 2709301"/>
                  <a:gd name="connsiteX35" fmla="*/ 1127524 w 2709302"/>
                  <a:gd name="connsiteY35" fmla="*/ 2569037 h 2709301"/>
                  <a:gd name="connsiteX36" fmla="*/ 1105893 w 2709302"/>
                  <a:gd name="connsiteY36" fmla="*/ 2686657 h 2709301"/>
                  <a:gd name="connsiteX37" fmla="*/ 1354651 w 2709302"/>
                  <a:gd name="connsiteY37" fmla="*/ 2709302 h 2709301"/>
                  <a:gd name="connsiteX38" fmla="*/ 1355665 w 2709302"/>
                  <a:gd name="connsiteY38" fmla="*/ 2709302 h 2709301"/>
                  <a:gd name="connsiteX39" fmla="*/ 1354989 w 2709302"/>
                  <a:gd name="connsiteY39" fmla="*/ 2590330 h 2709301"/>
                  <a:gd name="connsiteX40" fmla="*/ 1764967 w 2709302"/>
                  <a:gd name="connsiteY40" fmla="*/ 2520029 h 2709301"/>
                  <a:gd name="connsiteX41" fmla="*/ 1804511 w 2709302"/>
                  <a:gd name="connsiteY41" fmla="*/ 2632917 h 2709301"/>
                  <a:gd name="connsiteX42" fmla="*/ 2032652 w 2709302"/>
                  <a:gd name="connsiteY42" fmla="*/ 2527803 h 2709301"/>
                  <a:gd name="connsiteX43" fmla="*/ 1972491 w 2709302"/>
                  <a:gd name="connsiteY43" fmla="*/ 2424041 h 2709301"/>
                  <a:gd name="connsiteX44" fmla="*/ 2291888 w 2709302"/>
                  <a:gd name="connsiteY44" fmla="*/ 2158721 h 2709301"/>
                  <a:gd name="connsiteX45" fmla="*/ 2382807 w 2709302"/>
                  <a:gd name="connsiteY45" fmla="*/ 2236796 h 2709301"/>
                  <a:gd name="connsiteX46" fmla="*/ 2528141 w 2709302"/>
                  <a:gd name="connsiteY46" fmla="*/ 2031976 h 2709301"/>
                  <a:gd name="connsiteX47" fmla="*/ 2424379 w 2709302"/>
                  <a:gd name="connsiteY47" fmla="*/ 1972153 h 2709301"/>
                  <a:gd name="connsiteX48" fmla="*/ 2569037 w 2709302"/>
                  <a:gd name="connsiteY48" fmla="*/ 1582454 h 2709301"/>
                  <a:gd name="connsiteX49" fmla="*/ 2686319 w 2709302"/>
                  <a:gd name="connsiteY49" fmla="*/ 1604423 h 2709301"/>
                  <a:gd name="connsiteX50" fmla="*/ 2701528 w 2709302"/>
                  <a:gd name="connsiteY50" fmla="*/ 1498295 h 2709301"/>
                  <a:gd name="connsiteX51" fmla="*/ 2705922 w 2709302"/>
                  <a:gd name="connsiteY51" fmla="*/ 1450639 h 2709301"/>
                  <a:gd name="connsiteX52" fmla="*/ 2709302 w 2709302"/>
                  <a:gd name="connsiteY52" fmla="*/ 1354313 h 2709301"/>
                  <a:gd name="connsiteX53" fmla="*/ 2709302 w 2709302"/>
                  <a:gd name="connsiteY53" fmla="*/ 1351271 h 2709301"/>
                  <a:gd name="connsiteX54" fmla="*/ 2590331 w 2709302"/>
                  <a:gd name="connsiteY54" fmla="*/ 1351947 h 2709301"/>
                  <a:gd name="connsiteX55" fmla="*/ 1354651 w 2709302"/>
                  <a:gd name="connsiteY55" fmla="*/ 2411873 h 2709301"/>
                  <a:gd name="connsiteX56" fmla="*/ 297766 w 2709302"/>
                  <a:gd name="connsiteY56" fmla="*/ 1354651 h 2709301"/>
                  <a:gd name="connsiteX57" fmla="*/ 1354651 w 2709302"/>
                  <a:gd name="connsiteY57" fmla="*/ 297428 h 2709301"/>
                  <a:gd name="connsiteX58" fmla="*/ 2411874 w 2709302"/>
                  <a:gd name="connsiteY58" fmla="*/ 1354651 h 2709301"/>
                  <a:gd name="connsiteX59" fmla="*/ 1354651 w 2709302"/>
                  <a:gd name="connsiteY59" fmla="*/ 2411873 h 2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709302" h="2709301">
                    <a:moveTo>
                      <a:pt x="2590331" y="1351947"/>
                    </a:moveTo>
                    <a:cubicBezTo>
                      <a:pt x="2589992" y="1208303"/>
                      <a:pt x="2564982" y="1070742"/>
                      <a:pt x="2519353" y="942307"/>
                    </a:cubicBezTo>
                    <a:lnTo>
                      <a:pt x="2631903" y="902425"/>
                    </a:lnTo>
                    <a:cubicBezTo>
                      <a:pt x="2604188" y="823674"/>
                      <a:pt x="2568700" y="747289"/>
                      <a:pt x="2526451" y="674621"/>
                    </a:cubicBezTo>
                    <a:lnTo>
                      <a:pt x="2423027" y="735121"/>
                    </a:lnTo>
                    <a:cubicBezTo>
                      <a:pt x="2352726" y="614122"/>
                      <a:pt x="2262484" y="506642"/>
                      <a:pt x="2157031" y="416062"/>
                    </a:cubicBezTo>
                    <a:lnTo>
                      <a:pt x="2234768" y="325143"/>
                    </a:lnTo>
                    <a:cubicBezTo>
                      <a:pt x="2171227" y="270727"/>
                      <a:pt x="2102278" y="221719"/>
                      <a:pt x="2029949" y="180147"/>
                    </a:cubicBezTo>
                    <a:lnTo>
                      <a:pt x="1970125" y="283909"/>
                    </a:lnTo>
                    <a:cubicBezTo>
                      <a:pt x="1851153" y="215298"/>
                      <a:pt x="1720015" y="165951"/>
                      <a:pt x="1580426" y="140264"/>
                    </a:cubicBezTo>
                    <a:lnTo>
                      <a:pt x="1602057" y="22645"/>
                    </a:lnTo>
                    <a:cubicBezTo>
                      <a:pt x="1520941" y="7774"/>
                      <a:pt x="1437796" y="0"/>
                      <a:pt x="1354651" y="0"/>
                    </a:cubicBezTo>
                    <a:lnTo>
                      <a:pt x="1352623" y="0"/>
                    </a:lnTo>
                    <a:lnTo>
                      <a:pt x="1352623" y="119309"/>
                    </a:lnTo>
                    <a:cubicBezTo>
                      <a:pt x="1208978" y="119647"/>
                      <a:pt x="1071418" y="144658"/>
                      <a:pt x="943321" y="189949"/>
                    </a:cubicBezTo>
                    <a:lnTo>
                      <a:pt x="903439" y="77061"/>
                    </a:lnTo>
                    <a:cubicBezTo>
                      <a:pt x="824688" y="105114"/>
                      <a:pt x="747964" y="140602"/>
                      <a:pt x="675635" y="182513"/>
                    </a:cubicBezTo>
                    <a:lnTo>
                      <a:pt x="735797" y="286275"/>
                    </a:lnTo>
                    <a:cubicBezTo>
                      <a:pt x="614798" y="356576"/>
                      <a:pt x="506980" y="446480"/>
                      <a:pt x="416738" y="551932"/>
                    </a:cubicBezTo>
                    <a:lnTo>
                      <a:pt x="325481" y="473857"/>
                    </a:lnTo>
                    <a:cubicBezTo>
                      <a:pt x="271065" y="537399"/>
                      <a:pt x="222395" y="606348"/>
                      <a:pt x="180485" y="678677"/>
                    </a:cubicBezTo>
                    <a:lnTo>
                      <a:pt x="284585" y="738839"/>
                    </a:lnTo>
                    <a:cubicBezTo>
                      <a:pt x="215635" y="857472"/>
                      <a:pt x="166289" y="988949"/>
                      <a:pt x="140264" y="1128200"/>
                    </a:cubicBezTo>
                    <a:lnTo>
                      <a:pt x="22983" y="1106569"/>
                    </a:lnTo>
                    <a:cubicBezTo>
                      <a:pt x="7774" y="1188023"/>
                      <a:pt x="0" y="1271506"/>
                      <a:pt x="0" y="1354651"/>
                    </a:cubicBezTo>
                    <a:lnTo>
                      <a:pt x="0" y="1356341"/>
                    </a:lnTo>
                    <a:lnTo>
                      <a:pt x="119309" y="1356341"/>
                    </a:lnTo>
                    <a:cubicBezTo>
                      <a:pt x="119309" y="1499647"/>
                      <a:pt x="144320" y="1637546"/>
                      <a:pt x="189611" y="1765643"/>
                    </a:cubicBezTo>
                    <a:lnTo>
                      <a:pt x="77061" y="1805525"/>
                    </a:lnTo>
                    <a:cubicBezTo>
                      <a:pt x="104776" y="1884276"/>
                      <a:pt x="140264" y="1960999"/>
                      <a:pt x="182175" y="2033328"/>
                    </a:cubicBezTo>
                    <a:lnTo>
                      <a:pt x="285937" y="1973167"/>
                    </a:lnTo>
                    <a:cubicBezTo>
                      <a:pt x="355900" y="2094166"/>
                      <a:pt x="446142" y="2201984"/>
                      <a:pt x="551594" y="2292226"/>
                    </a:cubicBezTo>
                    <a:lnTo>
                      <a:pt x="473519" y="2383482"/>
                    </a:lnTo>
                    <a:cubicBezTo>
                      <a:pt x="537061" y="2437898"/>
                      <a:pt x="605672" y="2486906"/>
                      <a:pt x="678001" y="2528479"/>
                    </a:cubicBezTo>
                    <a:lnTo>
                      <a:pt x="738163" y="2424717"/>
                    </a:lnTo>
                    <a:cubicBezTo>
                      <a:pt x="856796" y="2493328"/>
                      <a:pt x="988273" y="2543012"/>
                      <a:pt x="1127524" y="2569037"/>
                    </a:cubicBezTo>
                    <a:lnTo>
                      <a:pt x="1105893" y="2686657"/>
                    </a:lnTo>
                    <a:cubicBezTo>
                      <a:pt x="1187347" y="2701528"/>
                      <a:pt x="1271168" y="2709302"/>
                      <a:pt x="1354651" y="2709302"/>
                    </a:cubicBezTo>
                    <a:lnTo>
                      <a:pt x="1355665" y="2709302"/>
                    </a:lnTo>
                    <a:lnTo>
                      <a:pt x="1354989" y="2590330"/>
                    </a:lnTo>
                    <a:cubicBezTo>
                      <a:pt x="1498633" y="2590330"/>
                      <a:pt x="1636532" y="2565319"/>
                      <a:pt x="1764967" y="2520029"/>
                    </a:cubicBezTo>
                    <a:lnTo>
                      <a:pt x="1804511" y="2632917"/>
                    </a:lnTo>
                    <a:cubicBezTo>
                      <a:pt x="1883600" y="2605202"/>
                      <a:pt x="1960323" y="2569713"/>
                      <a:pt x="2032652" y="2527803"/>
                    </a:cubicBezTo>
                    <a:lnTo>
                      <a:pt x="1972491" y="2424041"/>
                    </a:lnTo>
                    <a:cubicBezTo>
                      <a:pt x="2093490" y="2354078"/>
                      <a:pt x="2201308" y="2263835"/>
                      <a:pt x="2291888" y="2158721"/>
                    </a:cubicBezTo>
                    <a:lnTo>
                      <a:pt x="2382807" y="2236796"/>
                    </a:lnTo>
                    <a:cubicBezTo>
                      <a:pt x="2437561" y="2173255"/>
                      <a:pt x="2486231" y="2104305"/>
                      <a:pt x="2528141" y="2031976"/>
                    </a:cubicBezTo>
                    <a:lnTo>
                      <a:pt x="2424379" y="1972153"/>
                    </a:lnTo>
                    <a:cubicBezTo>
                      <a:pt x="2493328" y="1853181"/>
                      <a:pt x="2542674" y="1722042"/>
                      <a:pt x="2569037" y="1582454"/>
                    </a:cubicBezTo>
                    <a:lnTo>
                      <a:pt x="2686319" y="1604423"/>
                    </a:lnTo>
                    <a:cubicBezTo>
                      <a:pt x="2692740" y="1569273"/>
                      <a:pt x="2697811" y="1534122"/>
                      <a:pt x="2701528" y="1498295"/>
                    </a:cubicBezTo>
                    <a:cubicBezTo>
                      <a:pt x="2703556" y="1482410"/>
                      <a:pt x="2704908" y="1466525"/>
                      <a:pt x="2705922" y="1450639"/>
                    </a:cubicBezTo>
                    <a:cubicBezTo>
                      <a:pt x="2708288" y="1418530"/>
                      <a:pt x="2709302" y="1386422"/>
                      <a:pt x="2709302" y="1354313"/>
                    </a:cubicBezTo>
                    <a:lnTo>
                      <a:pt x="2709302" y="1351271"/>
                    </a:lnTo>
                    <a:lnTo>
                      <a:pt x="2590331" y="1351947"/>
                    </a:lnTo>
                    <a:close/>
                    <a:moveTo>
                      <a:pt x="1354651" y="2411873"/>
                    </a:moveTo>
                    <a:cubicBezTo>
                      <a:pt x="771962" y="2411873"/>
                      <a:pt x="297766" y="1937678"/>
                      <a:pt x="297766" y="1354651"/>
                    </a:cubicBezTo>
                    <a:cubicBezTo>
                      <a:pt x="297766" y="771624"/>
                      <a:pt x="771962" y="297428"/>
                      <a:pt x="1354651" y="297428"/>
                    </a:cubicBezTo>
                    <a:cubicBezTo>
                      <a:pt x="1937340" y="297428"/>
                      <a:pt x="2411874" y="771962"/>
                      <a:pt x="2411874" y="1354651"/>
                    </a:cubicBezTo>
                    <a:cubicBezTo>
                      <a:pt x="2411874" y="1937340"/>
                      <a:pt x="1937678" y="2411873"/>
                      <a:pt x="1354651" y="2411873"/>
                    </a:cubicBezTo>
                    <a:close/>
                  </a:path>
                </a:pathLst>
              </a:custGeom>
              <a:gradFill>
                <a:gsLst>
                  <a:gs pos="0">
                    <a:srgbClr val="F8F8F8"/>
                  </a:gs>
                  <a:gs pos="7000">
                    <a:srgbClr val="E0E0E0"/>
                  </a:gs>
                  <a:gs pos="15000">
                    <a:srgbClr val="C4C4C4"/>
                  </a:gs>
                  <a:gs pos="31000">
                    <a:srgbClr val="7D7D7D"/>
                  </a:gs>
                  <a:gs pos="43000">
                    <a:srgbClr val="7D7D7D"/>
                  </a:gs>
                  <a:gs pos="71000">
                    <a:srgbClr val="DCDCDC"/>
                  </a:gs>
                  <a:gs pos="85000">
                    <a:srgbClr val="FEFEFE"/>
                  </a:gs>
                  <a:gs pos="88000">
                    <a:srgbClr val="F5F5F5"/>
                  </a:gs>
                  <a:gs pos="93000">
                    <a:srgbClr val="DFDFDF"/>
                  </a:gs>
                  <a:gs pos="99000">
                    <a:srgbClr val="BCBCBC"/>
                  </a:gs>
                  <a:gs pos="100000">
                    <a:srgbClr val="B5B5B5"/>
                  </a:gs>
                </a:gsLst>
                <a:lin ang="6907060" scaled="1"/>
              </a:gradFill>
              <a:ln w="33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B2F9C2-7CB4-0612-ED63-F813E25DB8D8}"/>
                </a:ext>
              </a:extLst>
            </p:cNvPr>
            <p:cNvSpPr/>
            <p:nvPr/>
          </p:nvSpPr>
          <p:spPr>
            <a:xfrm>
              <a:off x="0" y="3669214"/>
              <a:ext cx="6740083" cy="45719"/>
            </a:xfrm>
            <a:custGeom>
              <a:avLst/>
              <a:gdLst>
                <a:gd name="connsiteX0" fmla="*/ 0 w 4444864"/>
                <a:gd name="connsiteY0" fmla="*/ 0 h 47656"/>
                <a:gd name="connsiteX1" fmla="*/ 4444864 w 4444864"/>
                <a:gd name="connsiteY1" fmla="*/ 0 h 47656"/>
                <a:gd name="connsiteX2" fmla="*/ 4444864 w 4444864"/>
                <a:gd name="connsiteY2" fmla="*/ 47656 h 47656"/>
                <a:gd name="connsiteX3" fmla="*/ 0 w 4444864"/>
                <a:gd name="connsiteY3" fmla="*/ 47656 h 4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4864" h="47656">
                  <a:moveTo>
                    <a:pt x="0" y="0"/>
                  </a:moveTo>
                  <a:lnTo>
                    <a:pt x="4444864" y="0"/>
                  </a:lnTo>
                  <a:lnTo>
                    <a:pt x="4444864" y="47656"/>
                  </a:lnTo>
                  <a:lnTo>
                    <a:pt x="0" y="47656"/>
                  </a:lnTo>
                  <a:close/>
                </a:path>
              </a:pathLst>
            </a:custGeom>
            <a:gradFill>
              <a:gsLst>
                <a:gs pos="0">
                  <a:srgbClr val="F8F8F8"/>
                </a:gs>
                <a:gs pos="7000">
                  <a:srgbClr val="E0E0E0"/>
                </a:gs>
                <a:gs pos="15000">
                  <a:srgbClr val="C4C4C4"/>
                </a:gs>
                <a:gs pos="31000">
                  <a:srgbClr val="7D7D7D"/>
                </a:gs>
                <a:gs pos="43000">
                  <a:srgbClr val="7D7D7D"/>
                </a:gs>
                <a:gs pos="71000">
                  <a:srgbClr val="DCDCDC"/>
                </a:gs>
                <a:gs pos="85000">
                  <a:srgbClr val="FEFEFE"/>
                </a:gs>
                <a:gs pos="88000">
                  <a:srgbClr val="F5F5F5"/>
                </a:gs>
                <a:gs pos="93000">
                  <a:srgbClr val="DFDFDF"/>
                </a:gs>
                <a:gs pos="99000">
                  <a:srgbClr val="BCBCBC"/>
                </a:gs>
                <a:gs pos="100000">
                  <a:srgbClr val="B5B5B5"/>
                </a:gs>
              </a:gsLst>
              <a:lin ang="6906939" scaled="1"/>
            </a:gradFill>
            <a:ln w="33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C54B955-2165-0F3A-D8D0-267AD9BD11E0}"/>
                </a:ext>
              </a:extLst>
            </p:cNvPr>
            <p:cNvSpPr/>
            <p:nvPr/>
          </p:nvSpPr>
          <p:spPr>
            <a:xfrm>
              <a:off x="11220342" y="3667278"/>
              <a:ext cx="1001136" cy="47655"/>
            </a:xfrm>
            <a:custGeom>
              <a:avLst/>
              <a:gdLst>
                <a:gd name="connsiteX0" fmla="*/ 0 w 1188699"/>
                <a:gd name="connsiteY0" fmla="*/ 0 h 47656"/>
                <a:gd name="connsiteX1" fmla="*/ 1188700 w 1188699"/>
                <a:gd name="connsiteY1" fmla="*/ 0 h 47656"/>
                <a:gd name="connsiteX2" fmla="*/ 1188700 w 1188699"/>
                <a:gd name="connsiteY2" fmla="*/ 47656 h 47656"/>
                <a:gd name="connsiteX3" fmla="*/ 0 w 1188699"/>
                <a:gd name="connsiteY3" fmla="*/ 47656 h 4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8699" h="47656">
                  <a:moveTo>
                    <a:pt x="0" y="0"/>
                  </a:moveTo>
                  <a:lnTo>
                    <a:pt x="1188700" y="0"/>
                  </a:lnTo>
                  <a:lnTo>
                    <a:pt x="1188700" y="47656"/>
                  </a:lnTo>
                  <a:lnTo>
                    <a:pt x="0" y="47656"/>
                  </a:lnTo>
                  <a:close/>
                </a:path>
              </a:pathLst>
            </a:custGeom>
            <a:gradFill>
              <a:gsLst>
                <a:gs pos="0">
                  <a:srgbClr val="F8F8F8"/>
                </a:gs>
                <a:gs pos="7000">
                  <a:srgbClr val="E0E0E0"/>
                </a:gs>
                <a:gs pos="15000">
                  <a:srgbClr val="C4C4C4"/>
                </a:gs>
                <a:gs pos="31000">
                  <a:srgbClr val="7D7D7D"/>
                </a:gs>
                <a:gs pos="43000">
                  <a:srgbClr val="7D7D7D"/>
                </a:gs>
                <a:gs pos="71000">
                  <a:srgbClr val="DCDCDC"/>
                </a:gs>
                <a:gs pos="85000">
                  <a:srgbClr val="FEFEFE"/>
                </a:gs>
                <a:gs pos="88000">
                  <a:srgbClr val="F5F5F5"/>
                </a:gs>
                <a:gs pos="93000">
                  <a:srgbClr val="DFDFDF"/>
                </a:gs>
                <a:gs pos="99000">
                  <a:srgbClr val="BCBCBC"/>
                </a:gs>
                <a:gs pos="100000">
                  <a:srgbClr val="B5B5B5"/>
                </a:gs>
              </a:gsLst>
              <a:lin ang="6906801" scaled="1"/>
            </a:gradFill>
            <a:ln w="33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41" name="Group 19">
              <a:extLst>
                <a:ext uri="{FF2B5EF4-FFF2-40B4-BE49-F238E27FC236}">
                  <a16:creationId xmlns:a16="http://schemas.microsoft.com/office/drawing/2014/main" id="{CB27693F-01B3-DE11-B72B-DAD8C02E21D7}"/>
                </a:ext>
              </a:extLst>
            </p:cNvPr>
            <p:cNvGrpSpPr/>
            <p:nvPr/>
          </p:nvGrpSpPr>
          <p:grpSpPr>
            <a:xfrm>
              <a:off x="9922808" y="1198767"/>
              <a:ext cx="1065893" cy="1065893"/>
              <a:chOff x="0" y="0"/>
              <a:chExt cx="6350000" cy="6350000"/>
            </a:xfrm>
          </p:grpSpPr>
          <p:sp>
            <p:nvSpPr>
              <p:cNvPr id="42" name="Freeform 20">
                <a:extLst>
                  <a:ext uri="{FF2B5EF4-FFF2-40B4-BE49-F238E27FC236}">
                    <a16:creationId xmlns:a16="http://schemas.microsoft.com/office/drawing/2014/main" id="{F292DA56-A596-75A1-F45B-A03788170FC3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4C8F36">
                  <a:alpha val="9804"/>
                </a:srgbClr>
              </a:solidFill>
            </p:spPr>
            <p:txBody>
              <a:bodyPr>
                <a:noAutofit/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37" name="Group 14">
            <a:extLst>
              <a:ext uri="{FF2B5EF4-FFF2-40B4-BE49-F238E27FC236}">
                <a16:creationId xmlns:a16="http://schemas.microsoft.com/office/drawing/2014/main" id="{BD4AAEF0-DA00-377A-6109-A016D8AA9011}"/>
              </a:ext>
            </a:extLst>
          </p:cNvPr>
          <p:cNvGrpSpPr/>
          <p:nvPr/>
        </p:nvGrpSpPr>
        <p:grpSpPr>
          <a:xfrm>
            <a:off x="-580026" y="5235195"/>
            <a:ext cx="2698150" cy="2698150"/>
            <a:chOff x="0" y="0"/>
            <a:chExt cx="6350000" cy="6350000"/>
          </a:xfrm>
          <a:solidFill>
            <a:srgbClr val="FFFFFF"/>
          </a:solidFill>
        </p:grpSpPr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65970DA2-303A-4CF5-23C4-1888A2CCF49C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9E9E9"/>
            </a:solidFill>
          </p:spPr>
          <p:txBody>
            <a:bodyPr>
              <a:noAutofit/>
            </a:bodyPr>
            <a:lstStyle/>
            <a:p>
              <a:endParaRPr lang="en-IN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C5109E4D-518E-826D-31B6-C1D856BF4C23}"/>
              </a:ext>
            </a:extLst>
          </p:cNvPr>
          <p:cNvSpPr txBox="1"/>
          <p:nvPr/>
        </p:nvSpPr>
        <p:spPr>
          <a:xfrm>
            <a:off x="1060771" y="1675970"/>
            <a:ext cx="3667300" cy="184665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sz="4000" b="1" dirty="0">
                <a:solidFill>
                  <a:schemeClr val="bg1"/>
                </a:solidFill>
              </a:rPr>
              <a:t>Data-Driven Procurement Planning</a:t>
            </a:r>
          </a:p>
        </p:txBody>
      </p:sp>
      <p:grpSp>
        <p:nvGrpSpPr>
          <p:cNvPr id="43" name="Group 21">
            <a:extLst>
              <a:ext uri="{FF2B5EF4-FFF2-40B4-BE49-F238E27FC236}">
                <a16:creationId xmlns:a16="http://schemas.microsoft.com/office/drawing/2014/main" id="{124D7857-0E98-F4E3-758A-3B400192EA34}"/>
              </a:ext>
            </a:extLst>
          </p:cNvPr>
          <p:cNvGrpSpPr/>
          <p:nvPr/>
        </p:nvGrpSpPr>
        <p:grpSpPr>
          <a:xfrm>
            <a:off x="1186684" y="4582366"/>
            <a:ext cx="1065893" cy="1065893"/>
            <a:chOff x="0" y="0"/>
            <a:chExt cx="6350000" cy="6350000"/>
          </a:xfrm>
          <a:solidFill>
            <a:schemeClr val="bg1"/>
          </a:solidFill>
        </p:grpSpPr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8161F729-4730-1D85-BF5A-02292A1D9DDB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4C8F36">
                <a:alpha val="9804"/>
              </a:srgbClr>
            </a:solidFill>
          </p:spPr>
          <p:txBody>
            <a:bodyPr>
              <a:noAutofit/>
            </a:bodyPr>
            <a:lstStyle/>
            <a:p>
              <a:endParaRPr lang="en-IN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20D10784-7521-9D82-1DF9-5FEF61378088}"/>
              </a:ext>
            </a:extLst>
          </p:cNvPr>
          <p:cNvSpPr txBox="1"/>
          <p:nvPr/>
        </p:nvSpPr>
        <p:spPr>
          <a:xfrm>
            <a:off x="1060771" y="3933307"/>
            <a:ext cx="3554366" cy="86177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sz="2800" dirty="0">
                <a:solidFill>
                  <a:schemeClr val="bg1"/>
                </a:solidFill>
              </a:rPr>
              <a:t>Tuesday November</a:t>
            </a:r>
            <a:br>
              <a:rPr lang="en-IN" sz="2800" dirty="0">
                <a:solidFill>
                  <a:schemeClr val="bg1"/>
                </a:solidFill>
              </a:rPr>
            </a:br>
            <a:r>
              <a:rPr lang="en-IN" sz="2800" dirty="0">
                <a:solidFill>
                  <a:schemeClr val="bg1"/>
                </a:solidFill>
              </a:rPr>
              <a:t>8th 2022</a:t>
            </a:r>
          </a:p>
        </p:txBody>
      </p:sp>
      <p:pic>
        <p:nvPicPr>
          <p:cNvPr id="2" name="Animated EPS Logo">
            <a:hlinkClick r:id="" action="ppaction://media"/>
            <a:extLst>
              <a:ext uri="{FF2B5EF4-FFF2-40B4-BE49-F238E27FC236}">
                <a16:creationId xmlns:a16="http://schemas.microsoft.com/office/drawing/2014/main" id="{2DA77269-217A-C36B-FD73-25D13D6DE9A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-39151" y="5734833"/>
            <a:ext cx="1839376" cy="103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144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E2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3F97FD-38FF-4719-F382-F7F031759A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9" imgH="319" progId="TCLayout.ActiveDocument.1">
                  <p:embed/>
                </p:oleObj>
              </mc:Choice>
              <mc:Fallback>
                <p:oleObj name="think-cell Slide" r:id="rId3" imgW="319" imgH="31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3F97FD-38FF-4719-F382-F7F031759A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Hands holding a seedling&#10;&#10;Description automatically generated with medium confidence">
            <a:extLst>
              <a:ext uri="{FF2B5EF4-FFF2-40B4-BE49-F238E27FC236}">
                <a16:creationId xmlns:a16="http://schemas.microsoft.com/office/drawing/2014/main" id="{5517A2A9-6D46-A371-90F0-E1D811540E6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8" b="772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B3625CB-E165-C681-E852-0F9B78AAA5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3D42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AB3B3A1C-6551-CCB1-F016-0638B2D6A5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flipH="1" flipV="1">
            <a:off x="0" y="0"/>
            <a:ext cx="896781" cy="896781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29898B6B-23B6-5DF2-1DE1-1B5BADEE5117}"/>
              </a:ext>
            </a:extLst>
          </p:cNvPr>
          <p:cNvGrpSpPr/>
          <p:nvPr/>
        </p:nvGrpSpPr>
        <p:grpSpPr>
          <a:xfrm>
            <a:off x="5700242" y="497790"/>
            <a:ext cx="791517" cy="329711"/>
            <a:chOff x="980349" y="1446261"/>
            <a:chExt cx="791517" cy="329711"/>
          </a:xfrm>
          <a:solidFill>
            <a:srgbClr val="FCA943">
              <a:alpha val="70000"/>
            </a:srgbClr>
          </a:solidFill>
        </p:grpSpPr>
        <p:grpSp>
          <p:nvGrpSpPr>
            <p:cNvPr id="32" name="Group 12">
              <a:extLst>
                <a:ext uri="{FF2B5EF4-FFF2-40B4-BE49-F238E27FC236}">
                  <a16:creationId xmlns:a16="http://schemas.microsoft.com/office/drawing/2014/main" id="{BB812916-AA34-26F2-20BC-49280865350E}"/>
                </a:ext>
              </a:extLst>
            </p:cNvPr>
            <p:cNvGrpSpPr/>
            <p:nvPr/>
          </p:nvGrpSpPr>
          <p:grpSpPr>
            <a:xfrm>
              <a:off x="980349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00329A9D-3F59-CF77-DADC-E2260C882613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34" name="Group 14">
              <a:extLst>
                <a:ext uri="{FF2B5EF4-FFF2-40B4-BE49-F238E27FC236}">
                  <a16:creationId xmlns:a16="http://schemas.microsoft.com/office/drawing/2014/main" id="{CE7D0F37-61C5-1462-E5DC-90891D756228}"/>
                </a:ext>
              </a:extLst>
            </p:cNvPr>
            <p:cNvGrpSpPr/>
            <p:nvPr/>
          </p:nvGrpSpPr>
          <p:grpSpPr>
            <a:xfrm>
              <a:off x="1211252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0FFCA0CC-0904-2F3A-CFF8-44F03D4EE48E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46" name="Group 16">
              <a:extLst>
                <a:ext uri="{FF2B5EF4-FFF2-40B4-BE49-F238E27FC236}">
                  <a16:creationId xmlns:a16="http://schemas.microsoft.com/office/drawing/2014/main" id="{8AC2E837-7B92-C2DE-AA0A-6CC2D04A8472}"/>
                </a:ext>
              </a:extLst>
            </p:cNvPr>
            <p:cNvGrpSpPr/>
            <p:nvPr/>
          </p:nvGrpSpPr>
          <p:grpSpPr>
            <a:xfrm>
              <a:off x="1442155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AC56F57F-5FCE-BF1F-1792-AB07109E8D82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0F62B3D-2475-D5E0-8E96-CAFEC949E6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509592"/>
              </p:ext>
            </p:extLst>
          </p:nvPr>
        </p:nvGraphicFramePr>
        <p:xfrm>
          <a:off x="753393" y="1118699"/>
          <a:ext cx="10945218" cy="5031972"/>
        </p:xfrm>
        <a:graphic>
          <a:graphicData uri="http://schemas.openxmlformats.org/drawingml/2006/table">
            <a:tbl>
              <a:tblPr/>
              <a:tblGrid>
                <a:gridCol w="484857">
                  <a:extLst>
                    <a:ext uri="{9D8B030D-6E8A-4147-A177-3AD203B41FA5}">
                      <a16:colId xmlns:a16="http://schemas.microsoft.com/office/drawing/2014/main" val="4183354614"/>
                    </a:ext>
                  </a:extLst>
                </a:gridCol>
                <a:gridCol w="3725636">
                  <a:extLst>
                    <a:ext uri="{9D8B030D-6E8A-4147-A177-3AD203B41FA5}">
                      <a16:colId xmlns:a16="http://schemas.microsoft.com/office/drawing/2014/main" val="1191487094"/>
                    </a:ext>
                  </a:extLst>
                </a:gridCol>
                <a:gridCol w="1346945">
                  <a:extLst>
                    <a:ext uri="{9D8B030D-6E8A-4147-A177-3AD203B41FA5}">
                      <a16:colId xmlns:a16="http://schemas.microsoft.com/office/drawing/2014/main" val="3985144332"/>
                    </a:ext>
                  </a:extLst>
                </a:gridCol>
                <a:gridCol w="1346945">
                  <a:extLst>
                    <a:ext uri="{9D8B030D-6E8A-4147-A177-3AD203B41FA5}">
                      <a16:colId xmlns:a16="http://schemas.microsoft.com/office/drawing/2014/main" val="3707195349"/>
                    </a:ext>
                  </a:extLst>
                </a:gridCol>
                <a:gridCol w="1346945">
                  <a:extLst>
                    <a:ext uri="{9D8B030D-6E8A-4147-A177-3AD203B41FA5}">
                      <a16:colId xmlns:a16="http://schemas.microsoft.com/office/drawing/2014/main" val="3876537457"/>
                    </a:ext>
                  </a:extLst>
                </a:gridCol>
                <a:gridCol w="1346945">
                  <a:extLst>
                    <a:ext uri="{9D8B030D-6E8A-4147-A177-3AD203B41FA5}">
                      <a16:colId xmlns:a16="http://schemas.microsoft.com/office/drawing/2014/main" val="3599307076"/>
                    </a:ext>
                  </a:extLst>
                </a:gridCol>
                <a:gridCol w="1346945">
                  <a:extLst>
                    <a:ext uri="{9D8B030D-6E8A-4147-A177-3AD203B41FA5}">
                      <a16:colId xmlns:a16="http://schemas.microsoft.com/office/drawing/2014/main" val="500579528"/>
                    </a:ext>
                  </a:extLst>
                </a:gridCol>
              </a:tblGrid>
              <a:tr h="574082">
                <a:tc>
                  <a:txBody>
                    <a:bodyPr/>
                    <a:lstStyle/>
                    <a:p>
                      <a:pPr algn="l" fontAlgn="b"/>
                      <a:endParaRPr lang="en-IE" sz="1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ategories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PP Actual Data: 2018 to 202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PP Data                 2018-2021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entrally 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cured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entrally 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cured    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%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n-Centrally Procur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n-Centrally Procured</a:t>
                      </a:r>
                      <a:b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</a:br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684889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cilities Management and Maintenan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407,821,59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14,922,23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92,899,35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2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094009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CT and Office Equipm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73,528,49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47,628,56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4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25,899,93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826770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ravel and HR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68,234,02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06,189,175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          40%   </a:t>
                      </a:r>
                      <a:r>
                        <a:rPr lang="en-I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62,044,84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           60</a:t>
                      </a:r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 </a:t>
                      </a:r>
                      <a:r>
                        <a:rPr lang="en-I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2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10511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inor Building Works and Civil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57,523,07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516,98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56,006,08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9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544576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fessional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22,730,44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68,933,19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53,797,25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9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220876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tiliti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73,380,44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65,195,00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5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8,185,438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154044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aboratory, Diagnostics and Equipm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58,066,29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83,394,77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74,671,52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7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2F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26828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keting, Print and Stationer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33,587,93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52,964,77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80,623,15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553954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ibrar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14,835,26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40,970,16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6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73,865,099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4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10006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cal Professional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9,194,94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732,73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7,462,21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1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2689134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naged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5,294,439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713,83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3,580,609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9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953617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assroom and Training Equipment and Material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8,063,57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89,228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7,974,34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9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4115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leet and Pla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6,678,906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425,08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6,253,82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4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8300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cal, Surgical and Pharmaceutical Suppli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3,275,27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445,958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,829,31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6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461939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lant Hir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,890,47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–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–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,890,472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587333"/>
                  </a:ext>
                </a:extLst>
              </a:tr>
              <a:tr h="171511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riculture and Veterinar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605,53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70,00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335,53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3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366345"/>
                  </a:ext>
                </a:extLst>
              </a:tr>
              <a:tr h="251650"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cal and Diagnostic Equipment and Suppli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400,51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55,177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345,340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6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60819"/>
                  </a:ext>
                </a:extLst>
              </a:tr>
              <a:tr h="169846">
                <a:tc>
                  <a:txBody>
                    <a:bodyPr/>
                    <a:lstStyle/>
                    <a:p>
                      <a:pPr algn="l" fontAlgn="b"/>
                      <a:endParaRPr lang="en-IE" sz="1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2,068,111,20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00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786,446,87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€1,281,664,32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2%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A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2149431"/>
                  </a:ext>
                </a:extLst>
              </a:tr>
            </a:tbl>
          </a:graphicData>
        </a:graphic>
      </p:graphicFrame>
      <p:sp>
        <p:nvSpPr>
          <p:cNvPr id="7" name="Right Brace 6">
            <a:extLst>
              <a:ext uri="{FF2B5EF4-FFF2-40B4-BE49-F238E27FC236}">
                <a16:creationId xmlns:a16="http://schemas.microsoft.com/office/drawing/2014/main" id="{1FF65C7C-E391-10D9-F2FF-9F1691D6159F}"/>
              </a:ext>
            </a:extLst>
          </p:cNvPr>
          <p:cNvSpPr/>
          <p:nvPr/>
        </p:nvSpPr>
        <p:spPr>
          <a:xfrm>
            <a:off x="4048124" y="1752600"/>
            <a:ext cx="187833" cy="1104900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64B96CD-7A1A-42DB-E9EA-BA0ED59BA469}"/>
              </a:ext>
            </a:extLst>
          </p:cNvPr>
          <p:cNvSpPr txBox="1">
            <a:spLocks/>
          </p:cNvSpPr>
          <p:nvPr/>
        </p:nvSpPr>
        <p:spPr>
          <a:xfrm>
            <a:off x="4366031" y="2191950"/>
            <a:ext cx="44403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Poppins"/>
              </a:rPr>
              <a:t>8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637729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43D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3">
            <a:extLst>
              <a:ext uri="{FF2B5EF4-FFF2-40B4-BE49-F238E27FC236}">
                <a16:creationId xmlns:a16="http://schemas.microsoft.com/office/drawing/2014/main" id="{244903DD-CF36-3074-935C-08156502CB6B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2C0F7AC-7A38-CD41-BC04-4A26876DB4D3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ED430A0-FEFB-6B3C-392A-603A21E7E433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A7A0842-3DB1-430D-F5DC-5443F77405A9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A092AB3-7B89-7211-D4AF-AEA34529F054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A4AE14-256E-4160-8E2D-F13F9E1D91E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E0BA06F-22ED-A938-9E2E-EED5E75EB466}"/>
              </a:ext>
            </a:extLst>
          </p:cNvPr>
          <p:cNvGrpSpPr/>
          <p:nvPr/>
        </p:nvGrpSpPr>
        <p:grpSpPr>
          <a:xfrm>
            <a:off x="526584" y="501828"/>
            <a:ext cx="791517" cy="329711"/>
            <a:chOff x="980349" y="1446261"/>
            <a:chExt cx="791517" cy="329711"/>
          </a:xfrm>
          <a:solidFill>
            <a:srgbClr val="FCA943">
              <a:alpha val="70000"/>
            </a:srgbClr>
          </a:solidFill>
        </p:grpSpPr>
        <p:grpSp>
          <p:nvGrpSpPr>
            <p:cNvPr id="67" name="Group 12">
              <a:extLst>
                <a:ext uri="{FF2B5EF4-FFF2-40B4-BE49-F238E27FC236}">
                  <a16:creationId xmlns:a16="http://schemas.microsoft.com/office/drawing/2014/main" id="{AC61A790-F46E-AA93-5904-A5763C141B7F}"/>
                </a:ext>
              </a:extLst>
            </p:cNvPr>
            <p:cNvGrpSpPr/>
            <p:nvPr/>
          </p:nvGrpSpPr>
          <p:grpSpPr>
            <a:xfrm>
              <a:off x="980349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2" name="Freeform 13">
                <a:extLst>
                  <a:ext uri="{FF2B5EF4-FFF2-40B4-BE49-F238E27FC236}">
                    <a16:creationId xmlns:a16="http://schemas.microsoft.com/office/drawing/2014/main" id="{18E65720-B75C-B886-90A1-187156AFF599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68" name="Group 14">
              <a:extLst>
                <a:ext uri="{FF2B5EF4-FFF2-40B4-BE49-F238E27FC236}">
                  <a16:creationId xmlns:a16="http://schemas.microsoft.com/office/drawing/2014/main" id="{51BA1935-F2A9-DF97-03E1-C4D7AF4DB11B}"/>
                </a:ext>
              </a:extLst>
            </p:cNvPr>
            <p:cNvGrpSpPr/>
            <p:nvPr/>
          </p:nvGrpSpPr>
          <p:grpSpPr>
            <a:xfrm>
              <a:off x="1211252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1" name="Freeform 15">
                <a:extLst>
                  <a:ext uri="{FF2B5EF4-FFF2-40B4-BE49-F238E27FC236}">
                    <a16:creationId xmlns:a16="http://schemas.microsoft.com/office/drawing/2014/main" id="{F81DB5C3-4551-32FE-27CB-67F754FCF3FD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69" name="Group 16">
              <a:extLst>
                <a:ext uri="{FF2B5EF4-FFF2-40B4-BE49-F238E27FC236}">
                  <a16:creationId xmlns:a16="http://schemas.microsoft.com/office/drawing/2014/main" id="{FF087AD2-D4BB-1115-1E06-DA0B59B965CB}"/>
                </a:ext>
              </a:extLst>
            </p:cNvPr>
            <p:cNvGrpSpPr/>
            <p:nvPr/>
          </p:nvGrpSpPr>
          <p:grpSpPr>
            <a:xfrm>
              <a:off x="1442155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0" name="Freeform 17">
                <a:extLst>
                  <a:ext uri="{FF2B5EF4-FFF2-40B4-BE49-F238E27FC236}">
                    <a16:creationId xmlns:a16="http://schemas.microsoft.com/office/drawing/2014/main" id="{82ECF10C-4D17-D36C-8F9F-E971883FDD1D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AA587D89-E7F6-910C-4875-54C8CFCFBBA9}"/>
              </a:ext>
            </a:extLst>
          </p:cNvPr>
          <p:cNvSpPr txBox="1"/>
          <p:nvPr/>
        </p:nvSpPr>
        <p:spPr>
          <a:xfrm>
            <a:off x="526583" y="1006457"/>
            <a:ext cx="11341955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eTenders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 Summary 202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44A532-34B1-FFE4-14B2-B73459F5A676}"/>
              </a:ext>
            </a:extLst>
          </p:cNvPr>
          <p:cNvSpPr txBox="1"/>
          <p:nvPr/>
        </p:nvSpPr>
        <p:spPr>
          <a:xfrm>
            <a:off x="526583" y="17948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00DDE0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Tenders Adverti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DDE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669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3E4172-1E7E-0E49-0DFF-0FF97F5F15CF}"/>
              </a:ext>
            </a:extLst>
          </p:cNvPr>
          <p:cNvSpPr txBox="1"/>
          <p:nvPr/>
        </p:nvSpPr>
        <p:spPr>
          <a:xfrm>
            <a:off x="4401059" y="17948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FB900E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No Framework Availa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B900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62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2F75E8-1178-59BF-0475-D406F0C9235E}"/>
              </a:ext>
            </a:extLst>
          </p:cNvPr>
          <p:cNvSpPr txBox="1"/>
          <p:nvPr/>
        </p:nvSpPr>
        <p:spPr>
          <a:xfrm>
            <a:off x="8275534" y="17948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00DDE0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Framework Availa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DDE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4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E16C06-D31F-B5B3-865A-832A85B6A626}"/>
              </a:ext>
            </a:extLst>
          </p:cNvPr>
          <p:cNvSpPr txBox="1"/>
          <p:nvPr/>
        </p:nvSpPr>
        <p:spPr>
          <a:xfrm>
            <a:off x="526583" y="323771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FB900E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National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B900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45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03D3CA-B92E-AEA9-FABF-E7AB110ED35B}"/>
              </a:ext>
            </a:extLst>
          </p:cNvPr>
          <p:cNvSpPr txBox="1"/>
          <p:nvPr/>
        </p:nvSpPr>
        <p:spPr>
          <a:xfrm>
            <a:off x="4401059" y="323771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00DDE0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OJEU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DDE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20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4C0FD7-8BC3-F711-AE51-DF05042F5F26}"/>
              </a:ext>
            </a:extLst>
          </p:cNvPr>
          <p:cNvSpPr txBox="1"/>
          <p:nvPr/>
        </p:nvSpPr>
        <p:spPr>
          <a:xfrm>
            <a:off x="8275534" y="323771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FB900E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DPS Qualific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B900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AAA8EB9-E0F8-1A8B-B9B3-E14115756617}"/>
              </a:ext>
            </a:extLst>
          </p:cNvPr>
          <p:cNvSpPr txBox="1"/>
          <p:nvPr/>
        </p:nvSpPr>
        <p:spPr>
          <a:xfrm>
            <a:off x="526583" y="46805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00DDE0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Pan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DDE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E937C6-54B4-8A6B-D4AE-197942D2870E}"/>
              </a:ext>
            </a:extLst>
          </p:cNvPr>
          <p:cNvSpPr txBox="1"/>
          <p:nvPr/>
        </p:nvSpPr>
        <p:spPr>
          <a:xfrm>
            <a:off x="4401059" y="46805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FB900E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Without PSR Submitted to OG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B900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5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03B476E-5AA2-507F-794C-B76A1E2C23E0}"/>
              </a:ext>
            </a:extLst>
          </p:cNvPr>
          <p:cNvSpPr txBox="1"/>
          <p:nvPr/>
        </p:nvSpPr>
        <p:spPr>
          <a:xfrm>
            <a:off x="8275534" y="4680561"/>
            <a:ext cx="3593004" cy="1170982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>
            <a:solidFill>
              <a:srgbClr val="00DDE0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With PSR Submitted to OG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DDE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145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B4FB174-A188-FC2B-B608-25C849FAC2AC}"/>
              </a:ext>
            </a:extLst>
          </p:cNvPr>
          <p:cNvSpPr txBox="1">
            <a:spLocks/>
          </p:cNvSpPr>
          <p:nvPr/>
        </p:nvSpPr>
        <p:spPr>
          <a:xfrm>
            <a:off x="1507852" y="6411375"/>
            <a:ext cx="10360686" cy="22365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bg1"/>
                </a:solidFill>
              </a:rPr>
              <a:t>*Excluded from figures above are 25 Prior Information Notices and 7 Requests for Information.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0485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99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6137D05-2826-C372-314D-12791829F9E3}"/>
              </a:ext>
            </a:extLst>
          </p:cNvPr>
          <p:cNvSpPr/>
          <p:nvPr/>
        </p:nvSpPr>
        <p:spPr>
          <a:xfrm flipV="1">
            <a:off x="7613363" y="3992443"/>
            <a:ext cx="2006402" cy="2006567"/>
          </a:xfrm>
          <a:custGeom>
            <a:avLst/>
            <a:gdLst>
              <a:gd name="connsiteX0" fmla="*/ 1360398 w 2006402"/>
              <a:gd name="connsiteY0" fmla="*/ 850519 h 2006567"/>
              <a:gd name="connsiteX1" fmla="*/ 850684 w 2006402"/>
              <a:gd name="connsiteY1" fmla="*/ 646118 h 2006567"/>
              <a:gd name="connsiteX2" fmla="*/ 646254 w 2006402"/>
              <a:gd name="connsiteY2" fmla="*/ 1155851 h 2006567"/>
              <a:gd name="connsiteX3" fmla="*/ 1155920 w 2006402"/>
              <a:gd name="connsiteY3" fmla="*/ 1360271 h 2006567"/>
              <a:gd name="connsiteX4" fmla="*/ 1360398 w 2006402"/>
              <a:gd name="connsiteY4" fmla="*/ 850519 h 2006567"/>
              <a:gd name="connsiteX5" fmla="*/ 1955830 w 2006402"/>
              <a:gd name="connsiteY5" fmla="*/ 686996 h 2006567"/>
              <a:gd name="connsiteX6" fmla="*/ 1709175 w 2006402"/>
              <a:gd name="connsiteY6" fmla="*/ 874188 h 2006567"/>
              <a:gd name="connsiteX7" fmla="*/ 1717213 w 2006402"/>
              <a:gd name="connsiteY7" fmla="*/ 929060 h 2006567"/>
              <a:gd name="connsiteX8" fmla="*/ 2006489 w 2006402"/>
              <a:gd name="connsiteY8" fmla="*/ 1039560 h 2006567"/>
              <a:gd name="connsiteX9" fmla="*/ 1986326 w 2006402"/>
              <a:gd name="connsiteY9" fmla="*/ 1205571 h 2006567"/>
              <a:gd name="connsiteX10" fmla="*/ 1679018 w 2006402"/>
              <a:gd name="connsiteY10" fmla="*/ 1244358 h 2006567"/>
              <a:gd name="connsiteX11" fmla="*/ 1658467 w 2006402"/>
              <a:gd name="connsiteY11" fmla="*/ 1295763 h 2006567"/>
              <a:gd name="connsiteX12" fmla="*/ 1853842 w 2006402"/>
              <a:gd name="connsiteY12" fmla="*/ 1536180 h 2006567"/>
              <a:gd name="connsiteX13" fmla="*/ 1753733 w 2006402"/>
              <a:gd name="connsiteY13" fmla="*/ 1670156 h 2006567"/>
              <a:gd name="connsiteX14" fmla="*/ 1468206 w 2006402"/>
              <a:gd name="connsiteY14" fmla="*/ 1550068 h 2006567"/>
              <a:gd name="connsiteX15" fmla="*/ 1424461 w 2006402"/>
              <a:gd name="connsiteY15" fmla="*/ 1584273 h 2006567"/>
              <a:gd name="connsiteX16" fmla="*/ 1473367 w 2006402"/>
              <a:gd name="connsiteY16" fmla="*/ 1889945 h 2006567"/>
              <a:gd name="connsiteX17" fmla="*/ 1397886 w 2006402"/>
              <a:gd name="connsiteY17" fmla="*/ 1926194 h 2006567"/>
              <a:gd name="connsiteX18" fmla="*/ 1319530 w 2006402"/>
              <a:gd name="connsiteY18" fmla="*/ 1955703 h 2006567"/>
              <a:gd name="connsiteX19" fmla="*/ 1132348 w 2006402"/>
              <a:gd name="connsiteY19" fmla="*/ 1709038 h 2006567"/>
              <a:gd name="connsiteX20" fmla="*/ 1077447 w 2006402"/>
              <a:gd name="connsiteY20" fmla="*/ 1717154 h 2006567"/>
              <a:gd name="connsiteX21" fmla="*/ 966946 w 2006402"/>
              <a:gd name="connsiteY21" fmla="*/ 2006498 h 2006567"/>
              <a:gd name="connsiteX22" fmla="*/ 800945 w 2006402"/>
              <a:gd name="connsiteY22" fmla="*/ 1986238 h 2006567"/>
              <a:gd name="connsiteX23" fmla="*/ 762052 w 2006402"/>
              <a:gd name="connsiteY23" fmla="*/ 1678920 h 2006567"/>
              <a:gd name="connsiteX24" fmla="*/ 710762 w 2006402"/>
              <a:gd name="connsiteY24" fmla="*/ 1658292 h 2006567"/>
              <a:gd name="connsiteX25" fmla="*/ 470316 w 2006402"/>
              <a:gd name="connsiteY25" fmla="*/ 1853706 h 2006567"/>
              <a:gd name="connsiteX26" fmla="*/ 336447 w 2006402"/>
              <a:gd name="connsiteY26" fmla="*/ 1753597 h 2006567"/>
              <a:gd name="connsiteX27" fmla="*/ 456438 w 2006402"/>
              <a:gd name="connsiteY27" fmla="*/ 1468021 h 2006567"/>
              <a:gd name="connsiteX28" fmla="*/ 422281 w 2006402"/>
              <a:gd name="connsiteY28" fmla="*/ 1424199 h 2006567"/>
              <a:gd name="connsiteX29" fmla="*/ 116600 w 2006402"/>
              <a:gd name="connsiteY29" fmla="*/ 1473202 h 2006567"/>
              <a:gd name="connsiteX30" fmla="*/ 80293 w 2006402"/>
              <a:gd name="connsiteY30" fmla="*/ 1397780 h 2006567"/>
              <a:gd name="connsiteX31" fmla="*/ 50814 w 2006402"/>
              <a:gd name="connsiteY31" fmla="*/ 1319335 h 2006567"/>
              <a:gd name="connsiteX32" fmla="*/ 297477 w 2006402"/>
              <a:gd name="connsiteY32" fmla="*/ 1132173 h 2006567"/>
              <a:gd name="connsiteX33" fmla="*/ 289400 w 2006402"/>
              <a:gd name="connsiteY33" fmla="*/ 1077320 h 2006567"/>
              <a:gd name="connsiteX34" fmla="*/ 86 w 2006402"/>
              <a:gd name="connsiteY34" fmla="*/ 966781 h 2006567"/>
              <a:gd name="connsiteX35" fmla="*/ 20259 w 2006402"/>
              <a:gd name="connsiteY35" fmla="*/ 800779 h 2006567"/>
              <a:gd name="connsiteX36" fmla="*/ 327664 w 2006402"/>
              <a:gd name="connsiteY36" fmla="*/ 762070 h 2006567"/>
              <a:gd name="connsiteX37" fmla="*/ 348214 w 2006402"/>
              <a:gd name="connsiteY37" fmla="*/ 710636 h 2006567"/>
              <a:gd name="connsiteX38" fmla="*/ 152868 w 2006402"/>
              <a:gd name="connsiteY38" fmla="*/ 470170 h 2006567"/>
              <a:gd name="connsiteX39" fmla="*/ 252996 w 2006402"/>
              <a:gd name="connsiteY39" fmla="*/ 336331 h 2006567"/>
              <a:gd name="connsiteX40" fmla="*/ 538514 w 2006402"/>
              <a:gd name="connsiteY40" fmla="*/ 456341 h 2006567"/>
              <a:gd name="connsiteX41" fmla="*/ 582220 w 2006402"/>
              <a:gd name="connsiteY41" fmla="*/ 422223 h 2006567"/>
              <a:gd name="connsiteX42" fmla="*/ 533246 w 2006402"/>
              <a:gd name="connsiteY42" fmla="*/ 116483 h 2006567"/>
              <a:gd name="connsiteX43" fmla="*/ 608708 w 2006402"/>
              <a:gd name="connsiteY43" fmla="*/ 80195 h 2006567"/>
              <a:gd name="connsiteX44" fmla="*/ 687191 w 2006402"/>
              <a:gd name="connsiteY44" fmla="*/ 50755 h 2006567"/>
              <a:gd name="connsiteX45" fmla="*/ 874363 w 2006402"/>
              <a:gd name="connsiteY45" fmla="*/ 297389 h 2006567"/>
              <a:gd name="connsiteX46" fmla="*/ 929196 w 2006402"/>
              <a:gd name="connsiteY46" fmla="*/ 289332 h 2006567"/>
              <a:gd name="connsiteX47" fmla="*/ 1039754 w 2006402"/>
              <a:gd name="connsiteY47" fmla="*/ -69 h 2006567"/>
              <a:gd name="connsiteX48" fmla="*/ 1205737 w 2006402"/>
              <a:gd name="connsiteY48" fmla="*/ 20084 h 2006567"/>
              <a:gd name="connsiteX49" fmla="*/ 1244571 w 2006402"/>
              <a:gd name="connsiteY49" fmla="*/ 327450 h 2006567"/>
              <a:gd name="connsiteX50" fmla="*/ 1295890 w 2006402"/>
              <a:gd name="connsiteY50" fmla="*/ 348068 h 2006567"/>
              <a:gd name="connsiteX51" fmla="*/ 1536336 w 2006402"/>
              <a:gd name="connsiteY51" fmla="*/ 152752 h 2006567"/>
              <a:gd name="connsiteX52" fmla="*/ 1670273 w 2006402"/>
              <a:gd name="connsiteY52" fmla="*/ 252841 h 2006567"/>
              <a:gd name="connsiteX53" fmla="*/ 1550243 w 2006402"/>
              <a:gd name="connsiteY53" fmla="*/ 538291 h 2006567"/>
              <a:gd name="connsiteX54" fmla="*/ 1584323 w 2006402"/>
              <a:gd name="connsiteY54" fmla="*/ 582143 h 2006567"/>
              <a:gd name="connsiteX55" fmla="*/ 1890004 w 2006402"/>
              <a:gd name="connsiteY55" fmla="*/ 533255 h 2006567"/>
              <a:gd name="connsiteX56" fmla="*/ 1926340 w 2006402"/>
              <a:gd name="connsiteY56" fmla="*/ 608649 h 2006567"/>
              <a:gd name="connsiteX57" fmla="*/ 1955830 w 2006402"/>
              <a:gd name="connsiteY57" fmla="*/ 686996 h 200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006402" h="2006567">
                <a:moveTo>
                  <a:pt x="1360398" y="850519"/>
                </a:moveTo>
                <a:cubicBezTo>
                  <a:pt x="1276104" y="653459"/>
                  <a:pt x="1047909" y="561863"/>
                  <a:pt x="850684" y="646118"/>
                </a:cubicBezTo>
                <a:cubicBezTo>
                  <a:pt x="653479" y="730441"/>
                  <a:pt x="561971" y="958646"/>
                  <a:pt x="646254" y="1155851"/>
                </a:cubicBezTo>
                <a:cubicBezTo>
                  <a:pt x="730568" y="1353076"/>
                  <a:pt x="958753" y="1444507"/>
                  <a:pt x="1155920" y="1360271"/>
                </a:cubicBezTo>
                <a:cubicBezTo>
                  <a:pt x="1353174" y="1275958"/>
                  <a:pt x="1444692" y="1047801"/>
                  <a:pt x="1360398" y="850519"/>
                </a:cubicBezTo>
                <a:close/>
                <a:moveTo>
                  <a:pt x="1955830" y="686996"/>
                </a:moveTo>
                <a:lnTo>
                  <a:pt x="1709175" y="874188"/>
                </a:lnTo>
                <a:cubicBezTo>
                  <a:pt x="1712565" y="892462"/>
                  <a:pt x="1715373" y="910873"/>
                  <a:pt x="1717213" y="929060"/>
                </a:cubicBezTo>
                <a:lnTo>
                  <a:pt x="2006489" y="1039560"/>
                </a:lnTo>
                <a:cubicBezTo>
                  <a:pt x="2004445" y="1095633"/>
                  <a:pt x="1997666" y="1151077"/>
                  <a:pt x="1986326" y="1205571"/>
                </a:cubicBezTo>
                <a:lnTo>
                  <a:pt x="1679018" y="1244358"/>
                </a:lnTo>
                <a:cubicBezTo>
                  <a:pt x="1672771" y="1261722"/>
                  <a:pt x="1666002" y="1278922"/>
                  <a:pt x="1658467" y="1295763"/>
                </a:cubicBezTo>
                <a:lnTo>
                  <a:pt x="1853842" y="1536180"/>
                </a:lnTo>
                <a:cubicBezTo>
                  <a:pt x="1824304" y="1583266"/>
                  <a:pt x="1790912" y="1628038"/>
                  <a:pt x="1753733" y="1670156"/>
                </a:cubicBezTo>
                <a:lnTo>
                  <a:pt x="1468206" y="1550068"/>
                </a:lnTo>
                <a:cubicBezTo>
                  <a:pt x="1454202" y="1561999"/>
                  <a:pt x="1439511" y="1573359"/>
                  <a:pt x="1424461" y="1584273"/>
                </a:cubicBezTo>
                <a:lnTo>
                  <a:pt x="1473367" y="1889945"/>
                </a:lnTo>
                <a:cubicBezTo>
                  <a:pt x="1448837" y="1902864"/>
                  <a:pt x="1423802" y="1915096"/>
                  <a:pt x="1397886" y="1926194"/>
                </a:cubicBezTo>
                <a:cubicBezTo>
                  <a:pt x="1371991" y="1937321"/>
                  <a:pt x="1345871" y="1946928"/>
                  <a:pt x="1319530" y="1955703"/>
                </a:cubicBezTo>
                <a:lnTo>
                  <a:pt x="1132348" y="1709038"/>
                </a:lnTo>
                <a:cubicBezTo>
                  <a:pt x="1114034" y="1712370"/>
                  <a:pt x="1095721" y="1715188"/>
                  <a:pt x="1077447" y="1717154"/>
                </a:cubicBezTo>
                <a:lnTo>
                  <a:pt x="966946" y="2006498"/>
                </a:lnTo>
                <a:cubicBezTo>
                  <a:pt x="910873" y="2004386"/>
                  <a:pt x="855362" y="1997491"/>
                  <a:pt x="800945" y="1986238"/>
                </a:cubicBezTo>
                <a:lnTo>
                  <a:pt x="762052" y="1678920"/>
                </a:lnTo>
                <a:cubicBezTo>
                  <a:pt x="744668" y="1672712"/>
                  <a:pt x="727575" y="1665759"/>
                  <a:pt x="710762" y="1658292"/>
                </a:cubicBezTo>
                <a:lnTo>
                  <a:pt x="470316" y="1853706"/>
                </a:lnTo>
                <a:cubicBezTo>
                  <a:pt x="423240" y="1824187"/>
                  <a:pt x="378352" y="1790757"/>
                  <a:pt x="336447" y="1753597"/>
                </a:cubicBezTo>
                <a:lnTo>
                  <a:pt x="456438" y="1468021"/>
                </a:lnTo>
                <a:cubicBezTo>
                  <a:pt x="444507" y="1453978"/>
                  <a:pt x="433234" y="1439384"/>
                  <a:pt x="422281" y="1424199"/>
                </a:cubicBezTo>
                <a:lnTo>
                  <a:pt x="116600" y="1473202"/>
                </a:lnTo>
                <a:cubicBezTo>
                  <a:pt x="103701" y="1448710"/>
                  <a:pt x="91392" y="1423675"/>
                  <a:pt x="80293" y="1397780"/>
                </a:cubicBezTo>
                <a:cubicBezTo>
                  <a:pt x="69214" y="1371777"/>
                  <a:pt x="59617" y="1345667"/>
                  <a:pt x="50814" y="1319335"/>
                </a:cubicBezTo>
                <a:lnTo>
                  <a:pt x="297477" y="1132173"/>
                </a:lnTo>
                <a:cubicBezTo>
                  <a:pt x="294117" y="1113898"/>
                  <a:pt x="291309" y="1095575"/>
                  <a:pt x="289400" y="1077320"/>
                </a:cubicBezTo>
                <a:lnTo>
                  <a:pt x="86" y="966781"/>
                </a:lnTo>
                <a:cubicBezTo>
                  <a:pt x="2188" y="910650"/>
                  <a:pt x="9034" y="855206"/>
                  <a:pt x="20259" y="800779"/>
                </a:cubicBezTo>
                <a:lnTo>
                  <a:pt x="327664" y="762070"/>
                </a:lnTo>
                <a:cubicBezTo>
                  <a:pt x="333823" y="744590"/>
                  <a:pt x="340728" y="727497"/>
                  <a:pt x="348214" y="710636"/>
                </a:cubicBezTo>
                <a:lnTo>
                  <a:pt x="152868" y="470170"/>
                </a:lnTo>
                <a:cubicBezTo>
                  <a:pt x="182310" y="423055"/>
                  <a:pt x="215750" y="378216"/>
                  <a:pt x="252996" y="336331"/>
                </a:cubicBezTo>
                <a:lnTo>
                  <a:pt x="538514" y="456341"/>
                </a:lnTo>
                <a:cubicBezTo>
                  <a:pt x="552489" y="444429"/>
                  <a:pt x="567132" y="433088"/>
                  <a:pt x="582220" y="422223"/>
                </a:cubicBezTo>
                <a:lnTo>
                  <a:pt x="533246" y="116483"/>
                </a:lnTo>
                <a:cubicBezTo>
                  <a:pt x="557835" y="103613"/>
                  <a:pt x="582869" y="91313"/>
                  <a:pt x="608708" y="80195"/>
                </a:cubicBezTo>
                <a:cubicBezTo>
                  <a:pt x="634662" y="69097"/>
                  <a:pt x="660859" y="59519"/>
                  <a:pt x="687191" y="50755"/>
                </a:cubicBezTo>
                <a:lnTo>
                  <a:pt x="874363" y="297389"/>
                </a:lnTo>
                <a:cubicBezTo>
                  <a:pt x="892647" y="294048"/>
                  <a:pt x="910883" y="291182"/>
                  <a:pt x="929196" y="289332"/>
                </a:cubicBezTo>
                <a:lnTo>
                  <a:pt x="1039754" y="-69"/>
                </a:lnTo>
                <a:cubicBezTo>
                  <a:pt x="1095828" y="2100"/>
                  <a:pt x="1151271" y="8831"/>
                  <a:pt x="1205737" y="20084"/>
                </a:cubicBezTo>
                <a:lnTo>
                  <a:pt x="1244571" y="327450"/>
                </a:lnTo>
                <a:cubicBezTo>
                  <a:pt x="1261907" y="333793"/>
                  <a:pt x="1279058" y="340660"/>
                  <a:pt x="1295890" y="348068"/>
                </a:cubicBezTo>
                <a:lnTo>
                  <a:pt x="1536336" y="152752"/>
                </a:lnTo>
                <a:cubicBezTo>
                  <a:pt x="1583470" y="182251"/>
                  <a:pt x="1628281" y="215585"/>
                  <a:pt x="1670273" y="252841"/>
                </a:cubicBezTo>
                <a:lnTo>
                  <a:pt x="1550243" y="538291"/>
                </a:lnTo>
                <a:cubicBezTo>
                  <a:pt x="1562020" y="552334"/>
                  <a:pt x="1573399" y="567035"/>
                  <a:pt x="1584323" y="582143"/>
                </a:cubicBezTo>
                <a:lnTo>
                  <a:pt x="1890004" y="533255"/>
                </a:lnTo>
                <a:cubicBezTo>
                  <a:pt x="1902990" y="557612"/>
                  <a:pt x="1915299" y="582724"/>
                  <a:pt x="1926340" y="608649"/>
                </a:cubicBezTo>
                <a:cubicBezTo>
                  <a:pt x="1937438" y="634468"/>
                  <a:pt x="1947045" y="660722"/>
                  <a:pt x="1955830" y="686996"/>
                </a:cubicBezTo>
              </a:path>
            </a:pathLst>
          </a:custGeom>
          <a:solidFill>
            <a:srgbClr val="43ADD7"/>
          </a:solidFill>
          <a:ln>
            <a:solidFill>
              <a:srgbClr val="43AD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3EAB76F5-F239-D8B1-B78F-96B3EAE5A4D7}"/>
              </a:ext>
            </a:extLst>
          </p:cNvPr>
          <p:cNvSpPr/>
          <p:nvPr/>
        </p:nvSpPr>
        <p:spPr>
          <a:xfrm flipV="1">
            <a:off x="-2" y="1"/>
            <a:ext cx="5363713" cy="2997197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805A084-0B32-0FF3-FB27-6A4646429EB5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765E997-F191-F2F3-94F3-CFED7C09B89B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F33A1FE-3563-085B-0A0B-7EA5D9A959B9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D9F3571-7043-71C5-A60C-E93907065383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12</a:t>
            </a:fld>
            <a:endParaRPr lang="en-US" sz="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C01FF23-C9D7-655E-0F01-5FB4AA6CD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50" y="1528417"/>
            <a:ext cx="4253117" cy="984885"/>
          </a:xfrm>
        </p:spPr>
        <p:txBody>
          <a:bodyPr vert="horz"/>
          <a:lstStyle/>
          <a:p>
            <a:r>
              <a:rPr lang="en-IN" dirty="0">
                <a:solidFill>
                  <a:schemeClr val="bg1"/>
                </a:solidFill>
              </a:rPr>
              <a:t>Data Driven Forward Planning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B556E952-CBE8-C254-5B5C-F68F779D58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16807" y="1793693"/>
            <a:ext cx="3050058" cy="500906"/>
          </a:xfrm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US" sz="1800" dirty="0"/>
              <a:t>Data Driven Procurement Planning Cyc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99046076-5A8B-A94F-58C5-22033A521FE7}"/>
              </a:ext>
            </a:extLst>
          </p:cNvPr>
          <p:cNvSpPr txBox="1">
            <a:spLocks/>
          </p:cNvSpPr>
          <p:nvPr/>
        </p:nvSpPr>
        <p:spPr>
          <a:xfrm>
            <a:off x="782753" y="4986014"/>
            <a:ext cx="305005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Requirements Planning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ogramm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of Work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5A82E066-4AFC-A513-3924-287A83E06FFB}"/>
              </a:ext>
            </a:extLst>
          </p:cNvPr>
          <p:cNvSpPr txBox="1">
            <a:spLocks/>
          </p:cNvSpPr>
          <p:nvPr/>
        </p:nvSpPr>
        <p:spPr>
          <a:xfrm>
            <a:off x="8796104" y="3233413"/>
            <a:ext cx="272375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lanning Infrastructure Model Development 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C61899A-3BC3-6236-1897-EE1C08751ECB}"/>
              </a:ext>
            </a:extLst>
          </p:cNvPr>
          <p:cNvSpPr txBox="1">
            <a:spLocks/>
          </p:cNvSpPr>
          <p:nvPr/>
        </p:nvSpPr>
        <p:spPr>
          <a:xfrm>
            <a:off x="2876022" y="5976675"/>
            <a:ext cx="2630528" cy="25160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Engagement Activities 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090B1314-0727-0483-1A50-306C0B7A5B58}"/>
              </a:ext>
            </a:extLst>
          </p:cNvPr>
          <p:cNvSpPr/>
          <p:nvPr/>
        </p:nvSpPr>
        <p:spPr>
          <a:xfrm flipV="1">
            <a:off x="4875911" y="2267950"/>
            <a:ext cx="2286952" cy="2287030"/>
          </a:xfrm>
          <a:custGeom>
            <a:avLst/>
            <a:gdLst>
              <a:gd name="connsiteX0" fmla="*/ 1902365 w 2286952"/>
              <a:gd name="connsiteY0" fmla="*/ 991932 h 2287030"/>
              <a:gd name="connsiteX1" fmla="*/ 992178 w 2286952"/>
              <a:gd name="connsiteY1" fmla="*/ 384220 h 2287030"/>
              <a:gd name="connsiteX2" fmla="*/ 384535 w 2286952"/>
              <a:gd name="connsiteY2" fmla="*/ 1294369 h 2287030"/>
              <a:gd name="connsiteX3" fmla="*/ 1294731 w 2286952"/>
              <a:gd name="connsiteY3" fmla="*/ 1901964 h 2287030"/>
              <a:gd name="connsiteX4" fmla="*/ 1902365 w 2286952"/>
              <a:gd name="connsiteY4" fmla="*/ 991932 h 2287030"/>
              <a:gd name="connsiteX5" fmla="*/ 2084211 w 2286952"/>
              <a:gd name="connsiteY5" fmla="*/ 987574 h 2287030"/>
              <a:gd name="connsiteX6" fmla="*/ 2282510 w 2286952"/>
              <a:gd name="connsiteY6" fmla="*/ 1044499 h 2287030"/>
              <a:gd name="connsiteX7" fmla="*/ 2273571 w 2286952"/>
              <a:gd name="connsiteY7" fmla="*/ 1318706 h 2287030"/>
              <a:gd name="connsiteX8" fmla="*/ 2071737 w 2286952"/>
              <a:gd name="connsiteY8" fmla="*/ 1361976 h 2287030"/>
              <a:gd name="connsiteX9" fmla="*/ 2036049 w 2286952"/>
              <a:gd name="connsiteY9" fmla="*/ 1479023 h 2287030"/>
              <a:gd name="connsiteX10" fmla="*/ 2179234 w 2286952"/>
              <a:gd name="connsiteY10" fmla="*/ 1627185 h 2287030"/>
              <a:gd name="connsiteX11" fmla="*/ 2034006 w 2286952"/>
              <a:gd name="connsiteY11" fmla="*/ 1860078 h 2287030"/>
              <a:gd name="connsiteX12" fmla="*/ 1837808 w 2286952"/>
              <a:gd name="connsiteY12" fmla="*/ 1796732 h 2287030"/>
              <a:gd name="connsiteX13" fmla="*/ 1748536 w 2286952"/>
              <a:gd name="connsiteY13" fmla="*/ 1880473 h 2287030"/>
              <a:gd name="connsiteX14" fmla="*/ 1798441 w 2286952"/>
              <a:gd name="connsiteY14" fmla="*/ 2080381 h 2287030"/>
              <a:gd name="connsiteX15" fmla="*/ 1556135 w 2286952"/>
              <a:gd name="connsiteY15" fmla="*/ 2209301 h 2287030"/>
              <a:gd name="connsiteX16" fmla="*/ 1417985 w 2286952"/>
              <a:gd name="connsiteY16" fmla="*/ 2056431 h 2287030"/>
              <a:gd name="connsiteX17" fmla="*/ 1330002 w 2286952"/>
              <a:gd name="connsiteY17" fmla="*/ 2078434 h 2287030"/>
              <a:gd name="connsiteX18" fmla="*/ 1298973 w 2286952"/>
              <a:gd name="connsiteY18" fmla="*/ 2083847 h 2287030"/>
              <a:gd name="connsiteX19" fmla="*/ 1242106 w 2286952"/>
              <a:gd name="connsiteY19" fmla="*/ 2282147 h 2287030"/>
              <a:gd name="connsiteX20" fmla="*/ 967889 w 2286952"/>
              <a:gd name="connsiteY20" fmla="*/ 2273267 h 2287030"/>
              <a:gd name="connsiteX21" fmla="*/ 924513 w 2286952"/>
              <a:gd name="connsiteY21" fmla="*/ 2071297 h 2287030"/>
              <a:gd name="connsiteX22" fmla="*/ 807553 w 2286952"/>
              <a:gd name="connsiteY22" fmla="*/ 2035667 h 2287030"/>
              <a:gd name="connsiteX23" fmla="*/ 659332 w 2286952"/>
              <a:gd name="connsiteY23" fmla="*/ 2178833 h 2287030"/>
              <a:gd name="connsiteX24" fmla="*/ 426410 w 2286952"/>
              <a:gd name="connsiteY24" fmla="*/ 2033624 h 2287030"/>
              <a:gd name="connsiteX25" fmla="*/ 489844 w 2286952"/>
              <a:gd name="connsiteY25" fmla="*/ 1837339 h 2287030"/>
              <a:gd name="connsiteX26" fmla="*/ 406150 w 2286952"/>
              <a:gd name="connsiteY26" fmla="*/ 1748212 h 2287030"/>
              <a:gd name="connsiteX27" fmla="*/ 206185 w 2286952"/>
              <a:gd name="connsiteY27" fmla="*/ 1798049 h 2287030"/>
              <a:gd name="connsiteX28" fmla="*/ 77256 w 2286952"/>
              <a:gd name="connsiteY28" fmla="*/ 1555714 h 2287030"/>
              <a:gd name="connsiteX29" fmla="*/ 230144 w 2286952"/>
              <a:gd name="connsiteY29" fmla="*/ 1417614 h 2287030"/>
              <a:gd name="connsiteX30" fmla="*/ 208122 w 2286952"/>
              <a:gd name="connsiteY30" fmla="*/ 1329581 h 2287030"/>
              <a:gd name="connsiteX31" fmla="*/ 202699 w 2286952"/>
              <a:gd name="connsiteY31" fmla="*/ 1298542 h 2287030"/>
              <a:gd name="connsiteX32" fmla="*/ 4389 w 2286952"/>
              <a:gd name="connsiteY32" fmla="*/ 1241723 h 2287030"/>
              <a:gd name="connsiteX33" fmla="*/ 13318 w 2286952"/>
              <a:gd name="connsiteY33" fmla="*/ 967488 h 2287030"/>
              <a:gd name="connsiteX34" fmla="*/ 215172 w 2286952"/>
              <a:gd name="connsiteY34" fmla="*/ 924247 h 2287030"/>
              <a:gd name="connsiteX35" fmla="*/ 250840 w 2286952"/>
              <a:gd name="connsiteY35" fmla="*/ 807278 h 2287030"/>
              <a:gd name="connsiteX36" fmla="*/ 107694 w 2286952"/>
              <a:gd name="connsiteY36" fmla="*/ 659037 h 2287030"/>
              <a:gd name="connsiteX37" fmla="*/ 252952 w 2286952"/>
              <a:gd name="connsiteY37" fmla="*/ 426096 h 2287030"/>
              <a:gd name="connsiteX38" fmla="*/ 449159 w 2286952"/>
              <a:gd name="connsiteY38" fmla="*/ 489433 h 2287030"/>
              <a:gd name="connsiteX39" fmla="*/ 538363 w 2286952"/>
              <a:gd name="connsiteY39" fmla="*/ 405788 h 2287030"/>
              <a:gd name="connsiteX40" fmla="*/ 488469 w 2286952"/>
              <a:gd name="connsiteY40" fmla="*/ 205803 h 2287030"/>
              <a:gd name="connsiteX41" fmla="*/ 730736 w 2286952"/>
              <a:gd name="connsiteY41" fmla="*/ 76864 h 2287030"/>
              <a:gd name="connsiteX42" fmla="*/ 868885 w 2286952"/>
              <a:gd name="connsiteY42" fmla="*/ 229802 h 2287030"/>
              <a:gd name="connsiteX43" fmla="*/ 956994 w 2286952"/>
              <a:gd name="connsiteY43" fmla="*/ 207711 h 2287030"/>
              <a:gd name="connsiteX44" fmla="*/ 987946 w 2286952"/>
              <a:gd name="connsiteY44" fmla="*/ 202375 h 2287030"/>
              <a:gd name="connsiteX45" fmla="*/ 1044803 w 2286952"/>
              <a:gd name="connsiteY45" fmla="*/ 3978 h 2287030"/>
              <a:gd name="connsiteX46" fmla="*/ 1319049 w 2286952"/>
              <a:gd name="connsiteY46" fmla="*/ 12879 h 2287030"/>
              <a:gd name="connsiteX47" fmla="*/ 1362387 w 2286952"/>
              <a:gd name="connsiteY47" fmla="*/ 214761 h 2287030"/>
              <a:gd name="connsiteX48" fmla="*/ 1479337 w 2286952"/>
              <a:gd name="connsiteY48" fmla="*/ 250439 h 2287030"/>
              <a:gd name="connsiteX49" fmla="*/ 1627577 w 2286952"/>
              <a:gd name="connsiteY49" fmla="*/ 107341 h 2287030"/>
              <a:gd name="connsiteX50" fmla="*/ 1860460 w 2286952"/>
              <a:gd name="connsiteY50" fmla="*/ 252570 h 2287030"/>
              <a:gd name="connsiteX51" fmla="*/ 1797143 w 2286952"/>
              <a:gd name="connsiteY51" fmla="*/ 448748 h 2287030"/>
              <a:gd name="connsiteX52" fmla="*/ 1880807 w 2286952"/>
              <a:gd name="connsiteY52" fmla="*/ 537981 h 2287030"/>
              <a:gd name="connsiteX53" fmla="*/ 2080685 w 2286952"/>
              <a:gd name="connsiteY53" fmla="*/ 488096 h 2287030"/>
              <a:gd name="connsiteX54" fmla="*/ 2209605 w 2286952"/>
              <a:gd name="connsiteY54" fmla="*/ 730451 h 2287030"/>
              <a:gd name="connsiteX55" fmla="*/ 2056813 w 2286952"/>
              <a:gd name="connsiteY55" fmla="*/ 868542 h 2287030"/>
              <a:gd name="connsiteX56" fmla="*/ 2078865 w 2286952"/>
              <a:gd name="connsiteY56" fmla="*/ 956612 h 2287030"/>
              <a:gd name="connsiteX57" fmla="*/ 2084211 w 2286952"/>
              <a:gd name="connsiteY57" fmla="*/ 987574 h 2287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286952" h="2287030">
                <a:moveTo>
                  <a:pt x="1902365" y="991932"/>
                </a:moveTo>
                <a:cubicBezTo>
                  <a:pt x="1818729" y="572681"/>
                  <a:pt x="1411274" y="300576"/>
                  <a:pt x="992178" y="384220"/>
                </a:cubicBezTo>
                <a:cubicBezTo>
                  <a:pt x="573024" y="467711"/>
                  <a:pt x="300977" y="875301"/>
                  <a:pt x="384535" y="1294369"/>
                </a:cubicBezTo>
                <a:cubicBezTo>
                  <a:pt x="468112" y="1713523"/>
                  <a:pt x="875645" y="1985540"/>
                  <a:pt x="1294731" y="1901964"/>
                </a:cubicBezTo>
                <a:cubicBezTo>
                  <a:pt x="1713885" y="1818376"/>
                  <a:pt x="1985874" y="1410892"/>
                  <a:pt x="1902365" y="991932"/>
                </a:cubicBezTo>
                <a:close/>
                <a:moveTo>
                  <a:pt x="2084211" y="987574"/>
                </a:moveTo>
                <a:lnTo>
                  <a:pt x="2282510" y="1044499"/>
                </a:lnTo>
                <a:cubicBezTo>
                  <a:pt x="2290693" y="1137509"/>
                  <a:pt x="2287478" y="1229521"/>
                  <a:pt x="2273571" y="1318706"/>
                </a:cubicBezTo>
                <a:lnTo>
                  <a:pt x="2071737" y="1361976"/>
                </a:lnTo>
                <a:cubicBezTo>
                  <a:pt x="2062362" y="1401934"/>
                  <a:pt x="2050460" y="1441011"/>
                  <a:pt x="2036049" y="1479023"/>
                </a:cubicBezTo>
                <a:lnTo>
                  <a:pt x="2179234" y="1627185"/>
                </a:lnTo>
                <a:cubicBezTo>
                  <a:pt x="2140245" y="1710356"/>
                  <a:pt x="2091464" y="1788568"/>
                  <a:pt x="2034006" y="1860078"/>
                </a:cubicBezTo>
                <a:lnTo>
                  <a:pt x="1837808" y="1796732"/>
                </a:lnTo>
                <a:cubicBezTo>
                  <a:pt x="1809868" y="1826483"/>
                  <a:pt x="1780224" y="1854403"/>
                  <a:pt x="1748536" y="1880473"/>
                </a:cubicBezTo>
                <a:lnTo>
                  <a:pt x="1798441" y="2080381"/>
                </a:lnTo>
                <a:cubicBezTo>
                  <a:pt x="1724199" y="2132338"/>
                  <a:pt x="1643043" y="2175773"/>
                  <a:pt x="1556135" y="2209301"/>
                </a:cubicBezTo>
                <a:lnTo>
                  <a:pt x="1417985" y="2056431"/>
                </a:lnTo>
                <a:cubicBezTo>
                  <a:pt x="1389271" y="2065041"/>
                  <a:pt x="1359975" y="2072459"/>
                  <a:pt x="1330002" y="2078434"/>
                </a:cubicBezTo>
                <a:cubicBezTo>
                  <a:pt x="1319601" y="2080497"/>
                  <a:pt x="1309258" y="2082104"/>
                  <a:pt x="1298973" y="2083847"/>
                </a:cubicBezTo>
                <a:lnTo>
                  <a:pt x="1242106" y="2282147"/>
                </a:lnTo>
                <a:cubicBezTo>
                  <a:pt x="1149038" y="2290292"/>
                  <a:pt x="1057093" y="2287144"/>
                  <a:pt x="967889" y="2273267"/>
                </a:cubicBezTo>
                <a:lnTo>
                  <a:pt x="924513" y="2071297"/>
                </a:lnTo>
                <a:cubicBezTo>
                  <a:pt x="884680" y="2061961"/>
                  <a:pt x="845574" y="2050059"/>
                  <a:pt x="807553" y="2035667"/>
                </a:cubicBezTo>
                <a:lnTo>
                  <a:pt x="659332" y="2178833"/>
                </a:lnTo>
                <a:cubicBezTo>
                  <a:pt x="576123" y="2139873"/>
                  <a:pt x="497901" y="2091101"/>
                  <a:pt x="426410" y="2033624"/>
                </a:cubicBezTo>
                <a:lnTo>
                  <a:pt x="489844" y="1837339"/>
                </a:lnTo>
                <a:cubicBezTo>
                  <a:pt x="460161" y="1809544"/>
                  <a:pt x="432124" y="1779803"/>
                  <a:pt x="406150" y="1748212"/>
                </a:cubicBezTo>
                <a:lnTo>
                  <a:pt x="206185" y="1798049"/>
                </a:lnTo>
                <a:cubicBezTo>
                  <a:pt x="154267" y="1723895"/>
                  <a:pt x="110832" y="1642787"/>
                  <a:pt x="77256" y="1555714"/>
                </a:cubicBezTo>
                <a:lnTo>
                  <a:pt x="230144" y="1417614"/>
                </a:lnTo>
                <a:cubicBezTo>
                  <a:pt x="221525" y="1388850"/>
                  <a:pt x="214097" y="1359584"/>
                  <a:pt x="208122" y="1329581"/>
                </a:cubicBezTo>
                <a:cubicBezTo>
                  <a:pt x="206030" y="1319219"/>
                  <a:pt x="204422" y="1308915"/>
                  <a:pt x="202699" y="1298542"/>
                </a:cubicBezTo>
                <a:lnTo>
                  <a:pt x="4389" y="1241723"/>
                </a:lnTo>
                <a:cubicBezTo>
                  <a:pt x="-3687" y="1148714"/>
                  <a:pt x="-579" y="1056779"/>
                  <a:pt x="13318" y="967488"/>
                </a:cubicBezTo>
                <a:lnTo>
                  <a:pt x="215172" y="924247"/>
                </a:lnTo>
                <a:cubicBezTo>
                  <a:pt x="224605" y="884376"/>
                  <a:pt x="236488" y="845318"/>
                  <a:pt x="250840" y="807278"/>
                </a:cubicBezTo>
                <a:lnTo>
                  <a:pt x="107694" y="659037"/>
                </a:lnTo>
                <a:cubicBezTo>
                  <a:pt x="146626" y="575809"/>
                  <a:pt x="195435" y="497558"/>
                  <a:pt x="252952" y="426096"/>
                </a:cubicBezTo>
                <a:lnTo>
                  <a:pt x="449159" y="489433"/>
                </a:lnTo>
                <a:cubicBezTo>
                  <a:pt x="477050" y="459692"/>
                  <a:pt x="506714" y="431743"/>
                  <a:pt x="538363" y="405788"/>
                </a:cubicBezTo>
                <a:lnTo>
                  <a:pt x="488469" y="205803"/>
                </a:lnTo>
                <a:cubicBezTo>
                  <a:pt x="562691" y="153904"/>
                  <a:pt x="643798" y="110469"/>
                  <a:pt x="730736" y="76864"/>
                </a:cubicBezTo>
                <a:lnTo>
                  <a:pt x="868885" y="229802"/>
                </a:lnTo>
                <a:cubicBezTo>
                  <a:pt x="897609" y="221182"/>
                  <a:pt x="926972" y="213687"/>
                  <a:pt x="956994" y="207711"/>
                </a:cubicBezTo>
                <a:cubicBezTo>
                  <a:pt x="967308" y="205609"/>
                  <a:pt x="977670" y="204070"/>
                  <a:pt x="987946" y="202375"/>
                </a:cubicBezTo>
                <a:lnTo>
                  <a:pt x="1044803" y="3978"/>
                </a:lnTo>
                <a:cubicBezTo>
                  <a:pt x="1137881" y="-4156"/>
                  <a:pt x="1229816" y="-1028"/>
                  <a:pt x="1319049" y="12879"/>
                </a:cubicBezTo>
                <a:lnTo>
                  <a:pt x="1362387" y="214761"/>
                </a:lnTo>
                <a:cubicBezTo>
                  <a:pt x="1402239" y="224262"/>
                  <a:pt x="1441364" y="236038"/>
                  <a:pt x="1479337" y="250439"/>
                </a:cubicBezTo>
                <a:lnTo>
                  <a:pt x="1627577" y="107341"/>
                </a:lnTo>
                <a:cubicBezTo>
                  <a:pt x="1710747" y="146311"/>
                  <a:pt x="1788940" y="195054"/>
                  <a:pt x="1860460" y="252570"/>
                </a:cubicBezTo>
                <a:lnTo>
                  <a:pt x="1797143" y="448748"/>
                </a:lnTo>
                <a:cubicBezTo>
                  <a:pt x="1826768" y="476649"/>
                  <a:pt x="1854766" y="506361"/>
                  <a:pt x="1880807" y="537981"/>
                </a:cubicBezTo>
                <a:lnTo>
                  <a:pt x="2080685" y="488096"/>
                </a:lnTo>
                <a:cubicBezTo>
                  <a:pt x="2132633" y="562299"/>
                  <a:pt x="2176058" y="643484"/>
                  <a:pt x="2209605" y="730451"/>
                </a:cubicBezTo>
                <a:lnTo>
                  <a:pt x="2056813" y="868542"/>
                </a:lnTo>
                <a:cubicBezTo>
                  <a:pt x="2065326" y="897295"/>
                  <a:pt x="2072879" y="926610"/>
                  <a:pt x="2078865" y="956612"/>
                </a:cubicBezTo>
                <a:cubicBezTo>
                  <a:pt x="2080908" y="966946"/>
                  <a:pt x="2082496" y="977221"/>
                  <a:pt x="2084211" y="987574"/>
                </a:cubicBezTo>
              </a:path>
            </a:pathLst>
          </a:custGeom>
          <a:solidFill>
            <a:srgbClr val="0E6B77"/>
          </a:solidFill>
          <a:ln>
            <a:solidFill>
              <a:srgbClr val="0E6B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3A9F1A35-F714-0699-4216-D31E4F38229D}"/>
              </a:ext>
            </a:extLst>
          </p:cNvPr>
          <p:cNvSpPr/>
          <p:nvPr/>
        </p:nvSpPr>
        <p:spPr>
          <a:xfrm flipV="1">
            <a:off x="7090507" y="3428574"/>
            <a:ext cx="931328" cy="931415"/>
          </a:xfrm>
          <a:custGeom>
            <a:avLst/>
            <a:gdLst>
              <a:gd name="connsiteX0" fmla="*/ 595519 w 931328"/>
              <a:gd name="connsiteY0" fmla="*/ 368063 h 931415"/>
              <a:gd name="connsiteX1" fmla="*/ 368283 w 931328"/>
              <a:gd name="connsiteY1" fmla="*/ 335591 h 931415"/>
              <a:gd name="connsiteX2" fmla="*/ 335849 w 931328"/>
              <a:gd name="connsiteY2" fmla="*/ 562750 h 931415"/>
              <a:gd name="connsiteX3" fmla="*/ 563106 w 931328"/>
              <a:gd name="connsiteY3" fmla="*/ 595184 h 931415"/>
              <a:gd name="connsiteX4" fmla="*/ 595519 w 931328"/>
              <a:gd name="connsiteY4" fmla="*/ 368063 h 931415"/>
              <a:gd name="connsiteX5" fmla="*/ 727519 w 931328"/>
              <a:gd name="connsiteY5" fmla="*/ 268875 h 931415"/>
              <a:gd name="connsiteX6" fmla="*/ 733659 w 931328"/>
              <a:gd name="connsiteY6" fmla="*/ 277513 h 931415"/>
              <a:gd name="connsiteX7" fmla="*/ 880573 w 931328"/>
              <a:gd name="connsiteY7" fmla="*/ 252585 h 931415"/>
              <a:gd name="connsiteX8" fmla="*/ 903419 w 931328"/>
              <a:gd name="connsiteY8" fmla="*/ 304582 h 931415"/>
              <a:gd name="connsiteX9" fmla="*/ 785520 w 931328"/>
              <a:gd name="connsiteY9" fmla="*/ 395654 h 931415"/>
              <a:gd name="connsiteX10" fmla="*/ 791815 w 931328"/>
              <a:gd name="connsiteY10" fmla="*/ 436726 h 931415"/>
              <a:gd name="connsiteX11" fmla="*/ 931378 w 931328"/>
              <a:gd name="connsiteY11" fmla="*/ 488587 h 931415"/>
              <a:gd name="connsiteX12" fmla="*/ 924996 w 931328"/>
              <a:gd name="connsiteY12" fmla="*/ 544892 h 931415"/>
              <a:gd name="connsiteX13" fmla="*/ 777481 w 931328"/>
              <a:gd name="connsiteY13" fmla="*/ 564939 h 931415"/>
              <a:gd name="connsiteX14" fmla="*/ 762470 w 931328"/>
              <a:gd name="connsiteY14" fmla="*/ 603580 h 931415"/>
              <a:gd name="connsiteX15" fmla="*/ 857475 w 931328"/>
              <a:gd name="connsiteY15" fmla="*/ 718428 h 931415"/>
              <a:gd name="connsiteX16" fmla="*/ 823802 w 931328"/>
              <a:gd name="connsiteY16" fmla="*/ 764014 h 931415"/>
              <a:gd name="connsiteX17" fmla="*/ 685992 w 931328"/>
              <a:gd name="connsiteY17" fmla="*/ 707553 h 931415"/>
              <a:gd name="connsiteX18" fmla="*/ 662226 w 931328"/>
              <a:gd name="connsiteY18" fmla="*/ 727212 h 931415"/>
              <a:gd name="connsiteX19" fmla="*/ 653617 w 931328"/>
              <a:gd name="connsiteY19" fmla="*/ 733343 h 931415"/>
              <a:gd name="connsiteX20" fmla="*/ 678477 w 931328"/>
              <a:gd name="connsiteY20" fmla="*/ 880237 h 931415"/>
              <a:gd name="connsiteX21" fmla="*/ 626568 w 931328"/>
              <a:gd name="connsiteY21" fmla="*/ 903054 h 931415"/>
              <a:gd name="connsiteX22" fmla="*/ 535418 w 931328"/>
              <a:gd name="connsiteY22" fmla="*/ 785242 h 931415"/>
              <a:gd name="connsiteX23" fmla="*/ 494384 w 931328"/>
              <a:gd name="connsiteY23" fmla="*/ 791498 h 931415"/>
              <a:gd name="connsiteX24" fmla="*/ 442534 w 931328"/>
              <a:gd name="connsiteY24" fmla="*/ 931080 h 931415"/>
              <a:gd name="connsiteX25" fmla="*/ 386131 w 931328"/>
              <a:gd name="connsiteY25" fmla="*/ 924737 h 931415"/>
              <a:gd name="connsiteX26" fmla="*/ 366191 w 931328"/>
              <a:gd name="connsiteY26" fmla="*/ 777184 h 931415"/>
              <a:gd name="connsiteX27" fmla="*/ 327492 w 931328"/>
              <a:gd name="connsiteY27" fmla="*/ 762231 h 931415"/>
              <a:gd name="connsiteX28" fmla="*/ 212634 w 931328"/>
              <a:gd name="connsiteY28" fmla="*/ 857139 h 931415"/>
              <a:gd name="connsiteX29" fmla="*/ 167078 w 931328"/>
              <a:gd name="connsiteY29" fmla="*/ 823466 h 931415"/>
              <a:gd name="connsiteX30" fmla="*/ 223567 w 931328"/>
              <a:gd name="connsiteY30" fmla="*/ 685608 h 931415"/>
              <a:gd name="connsiteX31" fmla="*/ 203869 w 931328"/>
              <a:gd name="connsiteY31" fmla="*/ 661939 h 931415"/>
              <a:gd name="connsiteX32" fmla="*/ 197730 w 931328"/>
              <a:gd name="connsiteY32" fmla="*/ 653281 h 931415"/>
              <a:gd name="connsiteX33" fmla="*/ 50864 w 931328"/>
              <a:gd name="connsiteY33" fmla="*/ 678180 h 931415"/>
              <a:gd name="connsiteX34" fmla="*/ 27989 w 931328"/>
              <a:gd name="connsiteY34" fmla="*/ 626213 h 931415"/>
              <a:gd name="connsiteX35" fmla="*/ 145888 w 931328"/>
              <a:gd name="connsiteY35" fmla="*/ 535140 h 931415"/>
              <a:gd name="connsiteX36" fmla="*/ 139584 w 931328"/>
              <a:gd name="connsiteY36" fmla="*/ 494107 h 931415"/>
              <a:gd name="connsiteX37" fmla="*/ 49 w 931328"/>
              <a:gd name="connsiteY37" fmla="*/ 442227 h 931415"/>
              <a:gd name="connsiteX38" fmla="*/ 6364 w 931328"/>
              <a:gd name="connsiteY38" fmla="*/ 385853 h 931415"/>
              <a:gd name="connsiteX39" fmla="*/ 153956 w 931328"/>
              <a:gd name="connsiteY39" fmla="*/ 365855 h 931415"/>
              <a:gd name="connsiteX40" fmla="*/ 168918 w 931328"/>
              <a:gd name="connsiteY40" fmla="*/ 327176 h 931415"/>
              <a:gd name="connsiteX41" fmla="*/ 73884 w 931328"/>
              <a:gd name="connsiteY41" fmla="*/ 212414 h 931415"/>
              <a:gd name="connsiteX42" fmla="*/ 107557 w 931328"/>
              <a:gd name="connsiteY42" fmla="*/ 166801 h 931415"/>
              <a:gd name="connsiteX43" fmla="*/ 245406 w 931328"/>
              <a:gd name="connsiteY43" fmla="*/ 223300 h 931415"/>
              <a:gd name="connsiteX44" fmla="*/ 269182 w 931328"/>
              <a:gd name="connsiteY44" fmla="*/ 203524 h 931415"/>
              <a:gd name="connsiteX45" fmla="*/ 277810 w 931328"/>
              <a:gd name="connsiteY45" fmla="*/ 197345 h 931415"/>
              <a:gd name="connsiteX46" fmla="*/ 252883 w 931328"/>
              <a:gd name="connsiteY46" fmla="*/ 50509 h 931415"/>
              <a:gd name="connsiteX47" fmla="*/ 304811 w 931328"/>
              <a:gd name="connsiteY47" fmla="*/ 27760 h 931415"/>
              <a:gd name="connsiteX48" fmla="*/ 395961 w 931328"/>
              <a:gd name="connsiteY48" fmla="*/ 145504 h 931415"/>
              <a:gd name="connsiteX49" fmla="*/ 436965 w 931328"/>
              <a:gd name="connsiteY49" fmla="*/ 139306 h 931415"/>
              <a:gd name="connsiteX50" fmla="*/ 488864 w 931328"/>
              <a:gd name="connsiteY50" fmla="*/ -335 h 931415"/>
              <a:gd name="connsiteX51" fmla="*/ 545267 w 931328"/>
              <a:gd name="connsiteY51" fmla="*/ 6038 h 931415"/>
              <a:gd name="connsiteX52" fmla="*/ 565236 w 931328"/>
              <a:gd name="connsiteY52" fmla="*/ 153620 h 931415"/>
              <a:gd name="connsiteX53" fmla="*/ 603897 w 931328"/>
              <a:gd name="connsiteY53" fmla="*/ 168563 h 931415"/>
              <a:gd name="connsiteX54" fmla="*/ 718726 w 931328"/>
              <a:gd name="connsiteY54" fmla="*/ 73577 h 931415"/>
              <a:gd name="connsiteX55" fmla="*/ 764310 w 931328"/>
              <a:gd name="connsiteY55" fmla="*/ 107289 h 931415"/>
              <a:gd name="connsiteX56" fmla="*/ 707840 w 931328"/>
              <a:gd name="connsiteY56" fmla="*/ 245128 h 931415"/>
              <a:gd name="connsiteX57" fmla="*/ 727519 w 931328"/>
              <a:gd name="connsiteY57" fmla="*/ 268875 h 931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31328" h="931415">
                <a:moveTo>
                  <a:pt x="595519" y="368063"/>
                </a:moveTo>
                <a:cubicBezTo>
                  <a:pt x="541722" y="296320"/>
                  <a:pt x="439977" y="281833"/>
                  <a:pt x="368283" y="335591"/>
                </a:cubicBezTo>
                <a:cubicBezTo>
                  <a:pt x="296598" y="389418"/>
                  <a:pt x="282081" y="491114"/>
                  <a:pt x="335849" y="562750"/>
                </a:cubicBezTo>
                <a:cubicBezTo>
                  <a:pt x="389724" y="634425"/>
                  <a:pt x="491392" y="648913"/>
                  <a:pt x="563106" y="595184"/>
                </a:cubicBezTo>
                <a:cubicBezTo>
                  <a:pt x="634742" y="541386"/>
                  <a:pt x="649240" y="439641"/>
                  <a:pt x="595519" y="368063"/>
                </a:cubicBezTo>
                <a:close/>
                <a:moveTo>
                  <a:pt x="727519" y="268875"/>
                </a:moveTo>
                <a:cubicBezTo>
                  <a:pt x="729650" y="271654"/>
                  <a:pt x="731616" y="274627"/>
                  <a:pt x="733659" y="277513"/>
                </a:cubicBezTo>
                <a:lnTo>
                  <a:pt x="880573" y="252585"/>
                </a:lnTo>
                <a:cubicBezTo>
                  <a:pt x="889250" y="269572"/>
                  <a:pt x="896949" y="286907"/>
                  <a:pt x="903419" y="304582"/>
                </a:cubicBezTo>
                <a:lnTo>
                  <a:pt x="785520" y="395654"/>
                </a:lnTo>
                <a:cubicBezTo>
                  <a:pt x="788532" y="409261"/>
                  <a:pt x="790546" y="422906"/>
                  <a:pt x="791815" y="436726"/>
                </a:cubicBezTo>
                <a:lnTo>
                  <a:pt x="931378" y="488587"/>
                </a:lnTo>
                <a:cubicBezTo>
                  <a:pt x="930409" y="507462"/>
                  <a:pt x="928240" y="526327"/>
                  <a:pt x="924996" y="544892"/>
                </a:cubicBezTo>
                <a:lnTo>
                  <a:pt x="777481" y="564939"/>
                </a:lnTo>
                <a:cubicBezTo>
                  <a:pt x="773298" y="578091"/>
                  <a:pt x="768349" y="591019"/>
                  <a:pt x="762470" y="603580"/>
                </a:cubicBezTo>
                <a:lnTo>
                  <a:pt x="857475" y="718428"/>
                </a:lnTo>
                <a:cubicBezTo>
                  <a:pt x="847326" y="734176"/>
                  <a:pt x="836005" y="749331"/>
                  <a:pt x="823802" y="764014"/>
                </a:cubicBezTo>
                <a:lnTo>
                  <a:pt x="685992" y="707553"/>
                </a:lnTo>
                <a:cubicBezTo>
                  <a:pt x="678419" y="714381"/>
                  <a:pt x="670545" y="720937"/>
                  <a:pt x="662226" y="727212"/>
                </a:cubicBezTo>
                <a:cubicBezTo>
                  <a:pt x="659369" y="729372"/>
                  <a:pt x="656493" y="731338"/>
                  <a:pt x="653617" y="733343"/>
                </a:cubicBezTo>
                <a:lnTo>
                  <a:pt x="678477" y="880237"/>
                </a:lnTo>
                <a:cubicBezTo>
                  <a:pt x="661519" y="888953"/>
                  <a:pt x="644184" y="896565"/>
                  <a:pt x="626568" y="903054"/>
                </a:cubicBezTo>
                <a:lnTo>
                  <a:pt x="535418" y="785242"/>
                </a:lnTo>
                <a:cubicBezTo>
                  <a:pt x="521821" y="788176"/>
                  <a:pt x="508146" y="790297"/>
                  <a:pt x="494384" y="791498"/>
                </a:cubicBezTo>
                <a:lnTo>
                  <a:pt x="442534" y="931080"/>
                </a:lnTo>
                <a:cubicBezTo>
                  <a:pt x="423572" y="930112"/>
                  <a:pt x="404754" y="927933"/>
                  <a:pt x="386131" y="924737"/>
                </a:cubicBezTo>
                <a:lnTo>
                  <a:pt x="366191" y="777184"/>
                </a:lnTo>
                <a:cubicBezTo>
                  <a:pt x="352991" y="772923"/>
                  <a:pt x="340072" y="768003"/>
                  <a:pt x="327492" y="762231"/>
                </a:cubicBezTo>
                <a:lnTo>
                  <a:pt x="212634" y="857139"/>
                </a:lnTo>
                <a:cubicBezTo>
                  <a:pt x="196935" y="846971"/>
                  <a:pt x="181730" y="835737"/>
                  <a:pt x="167078" y="823466"/>
                </a:cubicBezTo>
                <a:lnTo>
                  <a:pt x="223567" y="685608"/>
                </a:lnTo>
                <a:cubicBezTo>
                  <a:pt x="216692" y="678112"/>
                  <a:pt x="210116" y="670238"/>
                  <a:pt x="203869" y="661939"/>
                </a:cubicBezTo>
                <a:cubicBezTo>
                  <a:pt x="201709" y="659034"/>
                  <a:pt x="199763" y="656148"/>
                  <a:pt x="197730" y="653281"/>
                </a:cubicBezTo>
                <a:lnTo>
                  <a:pt x="50864" y="678180"/>
                </a:lnTo>
                <a:cubicBezTo>
                  <a:pt x="42109" y="661174"/>
                  <a:pt x="34488" y="643809"/>
                  <a:pt x="27989" y="626213"/>
                </a:cubicBezTo>
                <a:lnTo>
                  <a:pt x="145888" y="535140"/>
                </a:lnTo>
                <a:cubicBezTo>
                  <a:pt x="142896" y="521562"/>
                  <a:pt x="140804" y="507781"/>
                  <a:pt x="139584" y="494107"/>
                </a:cubicBezTo>
                <a:lnTo>
                  <a:pt x="49" y="442227"/>
                </a:lnTo>
                <a:cubicBezTo>
                  <a:pt x="960" y="423313"/>
                  <a:pt x="3100" y="404477"/>
                  <a:pt x="6364" y="385853"/>
                </a:cubicBezTo>
                <a:lnTo>
                  <a:pt x="153956" y="365855"/>
                </a:lnTo>
                <a:cubicBezTo>
                  <a:pt x="158052" y="352655"/>
                  <a:pt x="163049" y="339775"/>
                  <a:pt x="168918" y="327176"/>
                </a:cubicBezTo>
                <a:lnTo>
                  <a:pt x="73884" y="212414"/>
                </a:lnTo>
                <a:cubicBezTo>
                  <a:pt x="84053" y="196570"/>
                  <a:pt x="95384" y="181424"/>
                  <a:pt x="107557" y="166801"/>
                </a:cubicBezTo>
                <a:lnTo>
                  <a:pt x="245406" y="223300"/>
                </a:lnTo>
                <a:cubicBezTo>
                  <a:pt x="252912" y="216346"/>
                  <a:pt x="260892" y="209770"/>
                  <a:pt x="269182" y="203524"/>
                </a:cubicBezTo>
                <a:cubicBezTo>
                  <a:pt x="272009" y="201413"/>
                  <a:pt x="274886" y="199437"/>
                  <a:pt x="277810" y="197345"/>
                </a:cubicBezTo>
                <a:lnTo>
                  <a:pt x="252883" y="50509"/>
                </a:lnTo>
                <a:cubicBezTo>
                  <a:pt x="269860" y="41774"/>
                  <a:pt x="287204" y="34113"/>
                  <a:pt x="304811" y="27760"/>
                </a:cubicBezTo>
                <a:lnTo>
                  <a:pt x="395961" y="145504"/>
                </a:lnTo>
                <a:cubicBezTo>
                  <a:pt x="409519" y="142570"/>
                  <a:pt x="423242" y="140507"/>
                  <a:pt x="436965" y="139306"/>
                </a:cubicBezTo>
                <a:lnTo>
                  <a:pt x="488864" y="-335"/>
                </a:lnTo>
                <a:cubicBezTo>
                  <a:pt x="507749" y="634"/>
                  <a:pt x="526605" y="2793"/>
                  <a:pt x="545267" y="6038"/>
                </a:cubicBezTo>
                <a:lnTo>
                  <a:pt x="565236" y="153620"/>
                </a:lnTo>
                <a:cubicBezTo>
                  <a:pt x="578398" y="157803"/>
                  <a:pt x="591317" y="162713"/>
                  <a:pt x="603897" y="168563"/>
                </a:cubicBezTo>
                <a:lnTo>
                  <a:pt x="718726" y="73577"/>
                </a:lnTo>
                <a:cubicBezTo>
                  <a:pt x="734463" y="83707"/>
                  <a:pt x="749697" y="95077"/>
                  <a:pt x="764310" y="107289"/>
                </a:cubicBezTo>
                <a:lnTo>
                  <a:pt x="707840" y="245128"/>
                </a:lnTo>
                <a:cubicBezTo>
                  <a:pt x="714688" y="252663"/>
                  <a:pt x="721263" y="260478"/>
                  <a:pt x="727519" y="268875"/>
                </a:cubicBezTo>
              </a:path>
            </a:pathLst>
          </a:custGeom>
          <a:solidFill>
            <a:srgbClr val="00DDE0">
              <a:alpha val="44000"/>
            </a:srgbClr>
          </a:solidFill>
          <a:ln w="96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AFA7B3-D8E2-809E-15D1-4AC80E7802F0}"/>
              </a:ext>
            </a:extLst>
          </p:cNvPr>
          <p:cNvSpPr/>
          <p:nvPr/>
        </p:nvSpPr>
        <p:spPr>
          <a:xfrm flipV="1">
            <a:off x="5879590" y="4425494"/>
            <a:ext cx="1754468" cy="1754476"/>
          </a:xfrm>
          <a:custGeom>
            <a:avLst/>
            <a:gdLst>
              <a:gd name="connsiteX0" fmla="*/ 839404 w 1754468"/>
              <a:gd name="connsiteY0" fmla="*/ 364669 h 1754476"/>
              <a:gd name="connsiteX1" fmla="*/ 364631 w 1754468"/>
              <a:gd name="connsiteY1" fmla="*/ 915135 h 1754476"/>
              <a:gd name="connsiteX2" fmla="*/ 914952 w 1754468"/>
              <a:gd name="connsiteY2" fmla="*/ 1389898 h 1754476"/>
              <a:gd name="connsiteX3" fmla="*/ 1389976 w 1754468"/>
              <a:gd name="connsiteY3" fmla="*/ 839490 h 1754476"/>
              <a:gd name="connsiteX4" fmla="*/ 839404 w 1754468"/>
              <a:gd name="connsiteY4" fmla="*/ 364669 h 1754476"/>
              <a:gd name="connsiteX5" fmla="*/ 1482792 w 1754468"/>
              <a:gd name="connsiteY5" fmla="*/ 713892 h 1754476"/>
              <a:gd name="connsiteX6" fmla="*/ 1747915 w 1754468"/>
              <a:gd name="connsiteY6" fmla="*/ 769083 h 1754476"/>
              <a:gd name="connsiteX7" fmla="*/ 1752282 w 1754468"/>
              <a:gd name="connsiteY7" fmla="*/ 812664 h 1754476"/>
              <a:gd name="connsiteX8" fmla="*/ 1753677 w 1754468"/>
              <a:gd name="connsiteY8" fmla="*/ 915048 h 1754476"/>
              <a:gd name="connsiteX9" fmla="*/ 1494123 w 1754468"/>
              <a:gd name="connsiteY9" fmla="*/ 991246 h 1754476"/>
              <a:gd name="connsiteX10" fmla="*/ 1483354 w 1754468"/>
              <a:gd name="connsiteY10" fmla="*/ 1038642 h 1754476"/>
              <a:gd name="connsiteX11" fmla="*/ 1685266 w 1754468"/>
              <a:gd name="connsiteY11" fmla="*/ 1218811 h 1754476"/>
              <a:gd name="connsiteX12" fmla="*/ 1617513 w 1754468"/>
              <a:gd name="connsiteY12" fmla="*/ 1348244 h 1754476"/>
              <a:gd name="connsiteX13" fmla="*/ 1354299 w 1754468"/>
              <a:gd name="connsiteY13" fmla="*/ 1284308 h 1754476"/>
              <a:gd name="connsiteX14" fmla="*/ 1321430 w 1754468"/>
              <a:gd name="connsiteY14" fmla="*/ 1319840 h 1754476"/>
              <a:gd name="connsiteX15" fmla="*/ 1406285 w 1754468"/>
              <a:gd name="connsiteY15" fmla="*/ 1577011 h 1754476"/>
              <a:gd name="connsiteX16" fmla="*/ 1282847 w 1754468"/>
              <a:gd name="connsiteY16" fmla="*/ 1655291 h 1754476"/>
              <a:gd name="connsiteX17" fmla="*/ 1086871 w 1754468"/>
              <a:gd name="connsiteY17" fmla="*/ 1468439 h 1754476"/>
              <a:gd name="connsiteX18" fmla="*/ 1040580 w 1754468"/>
              <a:gd name="connsiteY18" fmla="*/ 1482724 h 1754476"/>
              <a:gd name="connsiteX19" fmla="*/ 985475 w 1754468"/>
              <a:gd name="connsiteY19" fmla="*/ 1747923 h 1754476"/>
              <a:gd name="connsiteX20" fmla="*/ 941865 w 1754468"/>
              <a:gd name="connsiteY20" fmla="*/ 1752156 h 1754476"/>
              <a:gd name="connsiteX21" fmla="*/ 839422 w 1754468"/>
              <a:gd name="connsiteY21" fmla="*/ 1753676 h 1754476"/>
              <a:gd name="connsiteX22" fmla="*/ 763235 w 1754468"/>
              <a:gd name="connsiteY22" fmla="*/ 1494083 h 1754476"/>
              <a:gd name="connsiteX23" fmla="*/ 715945 w 1754468"/>
              <a:gd name="connsiteY23" fmla="*/ 1483334 h 1754476"/>
              <a:gd name="connsiteX24" fmla="*/ 535698 w 1754468"/>
              <a:gd name="connsiteY24" fmla="*/ 1685332 h 1754476"/>
              <a:gd name="connsiteX25" fmla="*/ 406216 w 1754468"/>
              <a:gd name="connsiteY25" fmla="*/ 1617512 h 1754476"/>
              <a:gd name="connsiteX26" fmla="*/ 470134 w 1754468"/>
              <a:gd name="connsiteY26" fmla="*/ 1354259 h 1754476"/>
              <a:gd name="connsiteX27" fmla="*/ 434670 w 1754468"/>
              <a:gd name="connsiteY27" fmla="*/ 1321419 h 1754476"/>
              <a:gd name="connsiteX28" fmla="*/ 177488 w 1754468"/>
              <a:gd name="connsiteY28" fmla="*/ 1406245 h 1754476"/>
              <a:gd name="connsiteX29" fmla="*/ 99189 w 1754468"/>
              <a:gd name="connsiteY29" fmla="*/ 1282874 h 1754476"/>
              <a:gd name="connsiteX30" fmla="*/ 286148 w 1754468"/>
              <a:gd name="connsiteY30" fmla="*/ 1086812 h 1754476"/>
              <a:gd name="connsiteX31" fmla="*/ 271757 w 1754468"/>
              <a:gd name="connsiteY31" fmla="*/ 1040578 h 1754476"/>
              <a:gd name="connsiteX32" fmla="*/ 6586 w 1754468"/>
              <a:gd name="connsiteY32" fmla="*/ 985445 h 1754476"/>
              <a:gd name="connsiteX33" fmla="*/ 2296 w 1754468"/>
              <a:gd name="connsiteY33" fmla="*/ 941874 h 1754476"/>
              <a:gd name="connsiteX34" fmla="*/ 862 w 1754468"/>
              <a:gd name="connsiteY34" fmla="*/ 839412 h 1754476"/>
              <a:gd name="connsiteX35" fmla="*/ 260474 w 1754468"/>
              <a:gd name="connsiteY35" fmla="*/ 763215 h 1754476"/>
              <a:gd name="connsiteX36" fmla="*/ 271224 w 1754468"/>
              <a:gd name="connsiteY36" fmla="*/ 715935 h 1754476"/>
              <a:gd name="connsiteX37" fmla="*/ 69206 w 1754468"/>
              <a:gd name="connsiteY37" fmla="*/ 535668 h 1754476"/>
              <a:gd name="connsiteX38" fmla="*/ 137046 w 1754468"/>
              <a:gd name="connsiteY38" fmla="*/ 406264 h 1754476"/>
              <a:gd name="connsiteX39" fmla="*/ 400222 w 1754468"/>
              <a:gd name="connsiteY39" fmla="*/ 470133 h 1754476"/>
              <a:gd name="connsiteX40" fmla="*/ 433110 w 1754468"/>
              <a:gd name="connsiteY40" fmla="*/ 434649 h 1754476"/>
              <a:gd name="connsiteX41" fmla="*/ 348274 w 1754468"/>
              <a:gd name="connsiteY41" fmla="*/ 177449 h 1754476"/>
              <a:gd name="connsiteX42" fmla="*/ 471616 w 1754468"/>
              <a:gd name="connsiteY42" fmla="*/ 99150 h 1754476"/>
              <a:gd name="connsiteX43" fmla="*/ 667649 w 1754468"/>
              <a:gd name="connsiteY43" fmla="*/ 286137 h 1754476"/>
              <a:gd name="connsiteX44" fmla="*/ 713921 w 1754468"/>
              <a:gd name="connsiteY44" fmla="*/ 271717 h 1754476"/>
              <a:gd name="connsiteX45" fmla="*/ 769055 w 1754468"/>
              <a:gd name="connsiteY45" fmla="*/ 6682 h 1754476"/>
              <a:gd name="connsiteX46" fmla="*/ 812684 w 1754468"/>
              <a:gd name="connsiteY46" fmla="*/ 2324 h 1754476"/>
              <a:gd name="connsiteX47" fmla="*/ 915107 w 1754468"/>
              <a:gd name="connsiteY47" fmla="*/ 852 h 1754476"/>
              <a:gd name="connsiteX48" fmla="*/ 991324 w 1754468"/>
              <a:gd name="connsiteY48" fmla="*/ 260406 h 1754476"/>
              <a:gd name="connsiteX49" fmla="*/ 1038632 w 1754468"/>
              <a:gd name="connsiteY49" fmla="*/ 271185 h 1754476"/>
              <a:gd name="connsiteX50" fmla="*/ 1218842 w 1754468"/>
              <a:gd name="connsiteY50" fmla="*/ 69176 h 1754476"/>
              <a:gd name="connsiteX51" fmla="*/ 1348304 w 1754468"/>
              <a:gd name="connsiteY51" fmla="*/ 137035 h 1754476"/>
              <a:gd name="connsiteX52" fmla="*/ 1284396 w 1754468"/>
              <a:gd name="connsiteY52" fmla="*/ 400337 h 1754476"/>
              <a:gd name="connsiteX53" fmla="*/ 1319812 w 1754468"/>
              <a:gd name="connsiteY53" fmla="*/ 433148 h 1754476"/>
              <a:gd name="connsiteX54" fmla="*/ 1577051 w 1754468"/>
              <a:gd name="connsiteY54" fmla="*/ 348254 h 1754476"/>
              <a:gd name="connsiteX55" fmla="*/ 1655360 w 1754468"/>
              <a:gd name="connsiteY55" fmla="*/ 471653 h 1754476"/>
              <a:gd name="connsiteX56" fmla="*/ 1468333 w 1754468"/>
              <a:gd name="connsiteY56" fmla="*/ 667668 h 1754476"/>
              <a:gd name="connsiteX57" fmla="*/ 1482792 w 1754468"/>
              <a:gd name="connsiteY57" fmla="*/ 713892 h 175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754468" h="1754476">
                <a:moveTo>
                  <a:pt x="839404" y="364669"/>
                </a:moveTo>
                <a:cubicBezTo>
                  <a:pt x="556219" y="385500"/>
                  <a:pt x="343693" y="631835"/>
                  <a:pt x="364631" y="915135"/>
                </a:cubicBezTo>
                <a:cubicBezTo>
                  <a:pt x="385482" y="1198154"/>
                  <a:pt x="632020" y="1410787"/>
                  <a:pt x="914952" y="1389898"/>
                </a:cubicBezTo>
                <a:cubicBezTo>
                  <a:pt x="1198272" y="1368979"/>
                  <a:pt x="1410837" y="1122538"/>
                  <a:pt x="1389976" y="839490"/>
                </a:cubicBezTo>
                <a:cubicBezTo>
                  <a:pt x="1369029" y="556306"/>
                  <a:pt x="1122558" y="343673"/>
                  <a:pt x="839404" y="364669"/>
                </a:cubicBezTo>
                <a:close/>
                <a:moveTo>
                  <a:pt x="1482792" y="713892"/>
                </a:moveTo>
                <a:lnTo>
                  <a:pt x="1747915" y="769083"/>
                </a:lnTo>
                <a:cubicBezTo>
                  <a:pt x="1749668" y="783455"/>
                  <a:pt x="1751159" y="797895"/>
                  <a:pt x="1752282" y="812664"/>
                </a:cubicBezTo>
                <a:cubicBezTo>
                  <a:pt x="1754713" y="847150"/>
                  <a:pt x="1755072" y="881288"/>
                  <a:pt x="1753677" y="915048"/>
                </a:cubicBezTo>
                <a:lnTo>
                  <a:pt x="1494123" y="991246"/>
                </a:lnTo>
                <a:cubicBezTo>
                  <a:pt x="1491179" y="1007283"/>
                  <a:pt x="1487441" y="1022991"/>
                  <a:pt x="1483354" y="1038642"/>
                </a:cubicBezTo>
                <a:lnTo>
                  <a:pt x="1685266" y="1218811"/>
                </a:lnTo>
                <a:cubicBezTo>
                  <a:pt x="1666178" y="1263913"/>
                  <a:pt x="1643623" y="1307250"/>
                  <a:pt x="1617513" y="1348244"/>
                </a:cubicBezTo>
                <a:lnTo>
                  <a:pt x="1354299" y="1284308"/>
                </a:lnTo>
                <a:cubicBezTo>
                  <a:pt x="1343791" y="1296617"/>
                  <a:pt x="1332828" y="1308393"/>
                  <a:pt x="1321430" y="1319840"/>
                </a:cubicBezTo>
                <a:lnTo>
                  <a:pt x="1406285" y="1577011"/>
                </a:lnTo>
                <a:cubicBezTo>
                  <a:pt x="1367557" y="1606385"/>
                  <a:pt x="1326359" y="1632649"/>
                  <a:pt x="1282847" y="1655291"/>
                </a:cubicBezTo>
                <a:lnTo>
                  <a:pt x="1086871" y="1468439"/>
                </a:lnTo>
                <a:cubicBezTo>
                  <a:pt x="1071715" y="1473727"/>
                  <a:pt x="1056220" y="1478530"/>
                  <a:pt x="1040580" y="1482724"/>
                </a:cubicBezTo>
                <a:lnTo>
                  <a:pt x="985475" y="1747923"/>
                </a:lnTo>
                <a:cubicBezTo>
                  <a:pt x="971064" y="1749599"/>
                  <a:pt x="956557" y="1751080"/>
                  <a:pt x="941865" y="1752156"/>
                </a:cubicBezTo>
                <a:cubicBezTo>
                  <a:pt x="907330" y="1754771"/>
                  <a:pt x="873192" y="1755032"/>
                  <a:pt x="839422" y="1753676"/>
                </a:cubicBezTo>
                <a:lnTo>
                  <a:pt x="763235" y="1494083"/>
                </a:lnTo>
                <a:cubicBezTo>
                  <a:pt x="747275" y="1491149"/>
                  <a:pt x="731450" y="1487478"/>
                  <a:pt x="715945" y="1483334"/>
                </a:cubicBezTo>
                <a:lnTo>
                  <a:pt x="535698" y="1685332"/>
                </a:lnTo>
                <a:cubicBezTo>
                  <a:pt x="490607" y="1666206"/>
                  <a:pt x="447279" y="1643554"/>
                  <a:pt x="406216" y="1617512"/>
                </a:cubicBezTo>
                <a:lnTo>
                  <a:pt x="470134" y="1354259"/>
                </a:lnTo>
                <a:cubicBezTo>
                  <a:pt x="457844" y="1343780"/>
                  <a:pt x="446049" y="1332769"/>
                  <a:pt x="434670" y="1321419"/>
                </a:cubicBezTo>
                <a:lnTo>
                  <a:pt x="177488" y="1406245"/>
                </a:lnTo>
                <a:cubicBezTo>
                  <a:pt x="148154" y="1367478"/>
                  <a:pt x="121899" y="1326348"/>
                  <a:pt x="99189" y="1282874"/>
                </a:cubicBezTo>
                <a:lnTo>
                  <a:pt x="286148" y="1086812"/>
                </a:lnTo>
                <a:cubicBezTo>
                  <a:pt x="280763" y="1071656"/>
                  <a:pt x="276008" y="1056248"/>
                  <a:pt x="271757" y="1040578"/>
                </a:cubicBezTo>
                <a:lnTo>
                  <a:pt x="6586" y="985445"/>
                </a:lnTo>
                <a:cubicBezTo>
                  <a:pt x="4833" y="971073"/>
                  <a:pt x="3351" y="956469"/>
                  <a:pt x="2296" y="941874"/>
                </a:cubicBezTo>
                <a:cubicBezTo>
                  <a:pt x="-251" y="907329"/>
                  <a:pt x="-552" y="873221"/>
                  <a:pt x="862" y="839412"/>
                </a:cubicBezTo>
                <a:lnTo>
                  <a:pt x="260474" y="763215"/>
                </a:lnTo>
                <a:cubicBezTo>
                  <a:pt x="263409" y="747226"/>
                  <a:pt x="267031" y="731450"/>
                  <a:pt x="271224" y="715935"/>
                </a:cubicBezTo>
                <a:lnTo>
                  <a:pt x="69206" y="535668"/>
                </a:lnTo>
                <a:cubicBezTo>
                  <a:pt x="88313" y="490587"/>
                  <a:pt x="110888" y="447229"/>
                  <a:pt x="137046" y="406264"/>
                </a:cubicBezTo>
                <a:lnTo>
                  <a:pt x="400222" y="470133"/>
                </a:lnTo>
                <a:cubicBezTo>
                  <a:pt x="410720" y="457872"/>
                  <a:pt x="421750" y="446087"/>
                  <a:pt x="433110" y="434649"/>
                </a:cubicBezTo>
                <a:lnTo>
                  <a:pt x="348274" y="177449"/>
                </a:lnTo>
                <a:cubicBezTo>
                  <a:pt x="386993" y="148192"/>
                  <a:pt x="428181" y="121947"/>
                  <a:pt x="471616" y="99150"/>
                </a:cubicBezTo>
                <a:lnTo>
                  <a:pt x="667649" y="286137"/>
                </a:lnTo>
                <a:cubicBezTo>
                  <a:pt x="682844" y="280734"/>
                  <a:pt x="698233" y="275969"/>
                  <a:pt x="713921" y="271717"/>
                </a:cubicBezTo>
                <a:lnTo>
                  <a:pt x="769055" y="6682"/>
                </a:lnTo>
                <a:cubicBezTo>
                  <a:pt x="783456" y="4890"/>
                  <a:pt x="797983" y="3399"/>
                  <a:pt x="812684" y="2324"/>
                </a:cubicBezTo>
                <a:cubicBezTo>
                  <a:pt x="847171" y="-310"/>
                  <a:pt x="881328" y="-552"/>
                  <a:pt x="915107" y="852"/>
                </a:cubicBezTo>
                <a:lnTo>
                  <a:pt x="991324" y="260406"/>
                </a:lnTo>
                <a:cubicBezTo>
                  <a:pt x="1007313" y="263398"/>
                  <a:pt x="1023031" y="267040"/>
                  <a:pt x="1038632" y="271185"/>
                </a:cubicBezTo>
                <a:lnTo>
                  <a:pt x="1218842" y="69176"/>
                </a:lnTo>
                <a:cubicBezTo>
                  <a:pt x="1263942" y="88351"/>
                  <a:pt x="1307242" y="110916"/>
                  <a:pt x="1348304" y="137035"/>
                </a:cubicBezTo>
                <a:lnTo>
                  <a:pt x="1284396" y="400337"/>
                </a:lnTo>
                <a:cubicBezTo>
                  <a:pt x="1296637" y="410738"/>
                  <a:pt x="1308384" y="421759"/>
                  <a:pt x="1319812" y="433148"/>
                </a:cubicBezTo>
                <a:lnTo>
                  <a:pt x="1577051" y="348254"/>
                </a:lnTo>
                <a:cubicBezTo>
                  <a:pt x="1606337" y="386934"/>
                  <a:pt x="1632631" y="428190"/>
                  <a:pt x="1655360" y="471653"/>
                </a:cubicBezTo>
                <a:lnTo>
                  <a:pt x="1468333" y="667668"/>
                </a:lnTo>
                <a:cubicBezTo>
                  <a:pt x="1473737" y="682814"/>
                  <a:pt x="1478560" y="698222"/>
                  <a:pt x="1482792" y="713892"/>
                </a:cubicBezTo>
              </a:path>
            </a:pathLst>
          </a:custGeom>
          <a:solidFill>
            <a:srgbClr val="9D2F9D"/>
          </a:solidFill>
          <a:ln>
            <a:solidFill>
              <a:srgbClr val="9D2F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A4FE2865-18E5-61B2-7A6E-C64DAD21BE77}"/>
              </a:ext>
            </a:extLst>
          </p:cNvPr>
          <p:cNvSpPr/>
          <p:nvPr/>
        </p:nvSpPr>
        <p:spPr>
          <a:xfrm flipV="1">
            <a:off x="4020206" y="3943595"/>
            <a:ext cx="717213" cy="717135"/>
          </a:xfrm>
          <a:custGeom>
            <a:avLst/>
            <a:gdLst>
              <a:gd name="connsiteX0" fmla="*/ 538988 w 717213"/>
              <a:gd name="connsiteY0" fmla="*/ 307469 h 717135"/>
              <a:gd name="connsiteX1" fmla="*/ 304556 w 717213"/>
              <a:gd name="connsiteY1" fmla="*/ 164942 h 717135"/>
              <a:gd name="connsiteX2" fmla="*/ 162039 w 717213"/>
              <a:gd name="connsiteY2" fmla="*/ 399471 h 717135"/>
              <a:gd name="connsiteX3" fmla="*/ 396481 w 717213"/>
              <a:gd name="connsiteY3" fmla="*/ 541930 h 717135"/>
              <a:gd name="connsiteX4" fmla="*/ 538988 w 717213"/>
              <a:gd name="connsiteY4" fmla="*/ 307469 h 717135"/>
              <a:gd name="connsiteX5" fmla="*/ 616648 w 717213"/>
              <a:gd name="connsiteY5" fmla="*/ 364171 h 717135"/>
              <a:gd name="connsiteX6" fmla="*/ 714626 w 717213"/>
              <a:gd name="connsiteY6" fmla="*/ 421581 h 717135"/>
              <a:gd name="connsiteX7" fmla="*/ 692603 w 717213"/>
              <a:gd name="connsiteY7" fmla="*/ 496936 h 717135"/>
              <a:gd name="connsiteX8" fmla="*/ 579188 w 717213"/>
              <a:gd name="connsiteY8" fmla="*/ 492413 h 717135"/>
              <a:gd name="connsiteX9" fmla="*/ 635349 w 717213"/>
              <a:gd name="connsiteY9" fmla="*/ 591127 h 717135"/>
              <a:gd name="connsiteX10" fmla="*/ 578617 w 717213"/>
              <a:gd name="connsiteY10" fmla="*/ 645341 h 717135"/>
              <a:gd name="connsiteX11" fmla="*/ 482557 w 717213"/>
              <a:gd name="connsiteY11" fmla="*/ 584774 h 717135"/>
              <a:gd name="connsiteX12" fmla="*/ 481879 w 717213"/>
              <a:gd name="connsiteY12" fmla="*/ 698334 h 717135"/>
              <a:gd name="connsiteX13" fmla="*/ 444255 w 717213"/>
              <a:gd name="connsiteY13" fmla="*/ 709733 h 717135"/>
              <a:gd name="connsiteX14" fmla="*/ 405623 w 717213"/>
              <a:gd name="connsiteY14" fmla="*/ 716899 h 717135"/>
              <a:gd name="connsiteX15" fmla="*/ 352736 w 717213"/>
              <a:gd name="connsiteY15" fmla="*/ 616423 h 717135"/>
              <a:gd name="connsiteX16" fmla="*/ 295356 w 717213"/>
              <a:gd name="connsiteY16" fmla="*/ 714459 h 717135"/>
              <a:gd name="connsiteX17" fmla="*/ 220020 w 717213"/>
              <a:gd name="connsiteY17" fmla="*/ 692378 h 717135"/>
              <a:gd name="connsiteX18" fmla="*/ 224426 w 717213"/>
              <a:gd name="connsiteY18" fmla="*/ 578915 h 717135"/>
              <a:gd name="connsiteX19" fmla="*/ 125800 w 717213"/>
              <a:gd name="connsiteY19" fmla="*/ 635182 h 717135"/>
              <a:gd name="connsiteX20" fmla="*/ 71518 w 717213"/>
              <a:gd name="connsiteY20" fmla="*/ 578421 h 717135"/>
              <a:gd name="connsiteX21" fmla="*/ 132123 w 717213"/>
              <a:gd name="connsiteY21" fmla="*/ 482302 h 717135"/>
              <a:gd name="connsiteX22" fmla="*/ 18573 w 717213"/>
              <a:gd name="connsiteY22" fmla="*/ 481644 h 717135"/>
              <a:gd name="connsiteX23" fmla="*/ 7155 w 717213"/>
              <a:gd name="connsiteY23" fmla="*/ 444049 h 717135"/>
              <a:gd name="connsiteX24" fmla="*/ -60 w 717213"/>
              <a:gd name="connsiteY24" fmla="*/ 405417 h 717135"/>
              <a:gd name="connsiteX25" fmla="*/ 100484 w 717213"/>
              <a:gd name="connsiteY25" fmla="*/ 352530 h 717135"/>
              <a:gd name="connsiteX26" fmla="*/ 2458 w 717213"/>
              <a:gd name="connsiteY26" fmla="*/ 295130 h 717135"/>
              <a:gd name="connsiteX27" fmla="*/ 24509 w 717213"/>
              <a:gd name="connsiteY27" fmla="*/ 219834 h 717135"/>
              <a:gd name="connsiteX28" fmla="*/ 137934 w 717213"/>
              <a:gd name="connsiteY28" fmla="*/ 224240 h 717135"/>
              <a:gd name="connsiteX29" fmla="*/ 81764 w 717213"/>
              <a:gd name="connsiteY29" fmla="*/ 125584 h 717135"/>
              <a:gd name="connsiteX30" fmla="*/ 138477 w 717213"/>
              <a:gd name="connsiteY30" fmla="*/ 71283 h 717135"/>
              <a:gd name="connsiteX31" fmla="*/ 234556 w 717213"/>
              <a:gd name="connsiteY31" fmla="*/ 131850 h 717135"/>
              <a:gd name="connsiteX32" fmla="*/ 235253 w 717213"/>
              <a:gd name="connsiteY32" fmla="*/ 18329 h 717135"/>
              <a:gd name="connsiteX33" fmla="*/ 272859 w 717213"/>
              <a:gd name="connsiteY33" fmla="*/ 6968 h 717135"/>
              <a:gd name="connsiteX34" fmla="*/ 311471 w 717213"/>
              <a:gd name="connsiteY34" fmla="*/ -237 h 717135"/>
              <a:gd name="connsiteX35" fmla="*/ 364396 w 717213"/>
              <a:gd name="connsiteY35" fmla="*/ 100249 h 717135"/>
              <a:gd name="connsiteX36" fmla="*/ 421719 w 717213"/>
              <a:gd name="connsiteY36" fmla="*/ 2223 h 717135"/>
              <a:gd name="connsiteX37" fmla="*/ 497083 w 717213"/>
              <a:gd name="connsiteY37" fmla="*/ 24313 h 717135"/>
              <a:gd name="connsiteX38" fmla="*/ 492629 w 717213"/>
              <a:gd name="connsiteY38" fmla="*/ 137699 h 717135"/>
              <a:gd name="connsiteX39" fmla="*/ 591313 w 717213"/>
              <a:gd name="connsiteY39" fmla="*/ 81539 h 717135"/>
              <a:gd name="connsiteX40" fmla="*/ 645566 w 717213"/>
              <a:gd name="connsiteY40" fmla="*/ 138232 h 717135"/>
              <a:gd name="connsiteX41" fmla="*/ 584970 w 717213"/>
              <a:gd name="connsiteY41" fmla="*/ 234350 h 717135"/>
              <a:gd name="connsiteX42" fmla="*/ 698560 w 717213"/>
              <a:gd name="connsiteY42" fmla="*/ 235028 h 717135"/>
              <a:gd name="connsiteX43" fmla="*/ 709997 w 717213"/>
              <a:gd name="connsiteY43" fmla="*/ 272633 h 717135"/>
              <a:gd name="connsiteX44" fmla="*/ 717154 w 717213"/>
              <a:gd name="connsiteY44" fmla="*/ 311265 h 717135"/>
              <a:gd name="connsiteX45" fmla="*/ 616648 w 717213"/>
              <a:gd name="connsiteY45" fmla="*/ 364171 h 717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717213" h="717135">
                <a:moveTo>
                  <a:pt x="538988" y="307469"/>
                </a:moveTo>
                <a:cubicBezTo>
                  <a:pt x="513605" y="203438"/>
                  <a:pt x="408596" y="139607"/>
                  <a:pt x="304556" y="164942"/>
                </a:cubicBezTo>
                <a:cubicBezTo>
                  <a:pt x="200418" y="190354"/>
                  <a:pt x="136656" y="295353"/>
                  <a:pt x="162039" y="399471"/>
                </a:cubicBezTo>
                <a:cubicBezTo>
                  <a:pt x="187441" y="503521"/>
                  <a:pt x="292363" y="567283"/>
                  <a:pt x="396481" y="541930"/>
                </a:cubicBezTo>
                <a:cubicBezTo>
                  <a:pt x="500618" y="516508"/>
                  <a:pt x="564323" y="411606"/>
                  <a:pt x="538988" y="307469"/>
                </a:cubicBezTo>
                <a:close/>
                <a:moveTo>
                  <a:pt x="616648" y="364171"/>
                </a:moveTo>
                <a:lnTo>
                  <a:pt x="714626" y="421581"/>
                </a:lnTo>
                <a:cubicBezTo>
                  <a:pt x="710065" y="447545"/>
                  <a:pt x="702608" y="472812"/>
                  <a:pt x="692603" y="496936"/>
                </a:cubicBezTo>
                <a:lnTo>
                  <a:pt x="579188" y="492413"/>
                </a:lnTo>
                <a:lnTo>
                  <a:pt x="635349" y="591127"/>
                </a:lnTo>
                <a:cubicBezTo>
                  <a:pt x="618566" y="611097"/>
                  <a:pt x="599593" y="629264"/>
                  <a:pt x="578617" y="645341"/>
                </a:cubicBezTo>
                <a:lnTo>
                  <a:pt x="482557" y="584774"/>
                </a:lnTo>
                <a:lnTo>
                  <a:pt x="481879" y="698334"/>
                </a:lnTo>
                <a:cubicBezTo>
                  <a:pt x="469676" y="702750"/>
                  <a:pt x="457145" y="706576"/>
                  <a:pt x="444255" y="709733"/>
                </a:cubicBezTo>
                <a:cubicBezTo>
                  <a:pt x="431384" y="712910"/>
                  <a:pt x="418465" y="715195"/>
                  <a:pt x="405623" y="716899"/>
                </a:cubicBezTo>
                <a:lnTo>
                  <a:pt x="352736" y="616423"/>
                </a:lnTo>
                <a:lnTo>
                  <a:pt x="295356" y="714459"/>
                </a:lnTo>
                <a:cubicBezTo>
                  <a:pt x="269343" y="709839"/>
                  <a:pt x="244086" y="702373"/>
                  <a:pt x="220020" y="692378"/>
                </a:cubicBezTo>
                <a:lnTo>
                  <a:pt x="224426" y="578915"/>
                </a:lnTo>
                <a:lnTo>
                  <a:pt x="125800" y="635182"/>
                </a:lnTo>
                <a:cubicBezTo>
                  <a:pt x="105801" y="618350"/>
                  <a:pt x="87604" y="599330"/>
                  <a:pt x="71518" y="578421"/>
                </a:cubicBezTo>
                <a:lnTo>
                  <a:pt x="132123" y="482302"/>
                </a:lnTo>
                <a:lnTo>
                  <a:pt x="18573" y="481644"/>
                </a:lnTo>
                <a:cubicBezTo>
                  <a:pt x="14137" y="469432"/>
                  <a:pt x="10283" y="456900"/>
                  <a:pt x="7155" y="444049"/>
                </a:cubicBezTo>
                <a:cubicBezTo>
                  <a:pt x="4046" y="431188"/>
                  <a:pt x="1644" y="418259"/>
                  <a:pt x="-60" y="405417"/>
                </a:cubicBezTo>
                <a:lnTo>
                  <a:pt x="100484" y="352530"/>
                </a:lnTo>
                <a:lnTo>
                  <a:pt x="2458" y="295130"/>
                </a:lnTo>
                <a:cubicBezTo>
                  <a:pt x="7058" y="269156"/>
                  <a:pt x="14486" y="243899"/>
                  <a:pt x="24509" y="219834"/>
                </a:cubicBezTo>
                <a:lnTo>
                  <a:pt x="137934" y="224240"/>
                </a:lnTo>
                <a:lnTo>
                  <a:pt x="81764" y="125584"/>
                </a:lnTo>
                <a:cubicBezTo>
                  <a:pt x="98567" y="105605"/>
                  <a:pt x="117548" y="87388"/>
                  <a:pt x="138477" y="71283"/>
                </a:cubicBezTo>
                <a:lnTo>
                  <a:pt x="234556" y="131850"/>
                </a:lnTo>
                <a:lnTo>
                  <a:pt x="235253" y="18329"/>
                </a:lnTo>
                <a:cubicBezTo>
                  <a:pt x="247456" y="13912"/>
                  <a:pt x="259978" y="10058"/>
                  <a:pt x="272859" y="6968"/>
                </a:cubicBezTo>
                <a:cubicBezTo>
                  <a:pt x="285758" y="3821"/>
                  <a:pt x="298619" y="1439"/>
                  <a:pt x="311471" y="-237"/>
                </a:cubicBezTo>
                <a:lnTo>
                  <a:pt x="364396" y="100249"/>
                </a:lnTo>
                <a:lnTo>
                  <a:pt x="421719" y="2223"/>
                </a:lnTo>
                <a:cubicBezTo>
                  <a:pt x="447751" y="6872"/>
                  <a:pt x="473008" y="14261"/>
                  <a:pt x="497083" y="24313"/>
                </a:cubicBezTo>
                <a:lnTo>
                  <a:pt x="492629" y="137699"/>
                </a:lnTo>
                <a:lnTo>
                  <a:pt x="591313" y="81539"/>
                </a:lnTo>
                <a:cubicBezTo>
                  <a:pt x="611302" y="98351"/>
                  <a:pt x="629499" y="117323"/>
                  <a:pt x="645566" y="138232"/>
                </a:cubicBezTo>
                <a:lnTo>
                  <a:pt x="584970" y="234350"/>
                </a:lnTo>
                <a:lnTo>
                  <a:pt x="698560" y="235028"/>
                </a:lnTo>
                <a:cubicBezTo>
                  <a:pt x="702937" y="247240"/>
                  <a:pt x="706791" y="259763"/>
                  <a:pt x="709997" y="272633"/>
                </a:cubicBezTo>
                <a:cubicBezTo>
                  <a:pt x="713076" y="285514"/>
                  <a:pt x="715420" y="298452"/>
                  <a:pt x="717154" y="311265"/>
                </a:cubicBezTo>
                <a:lnTo>
                  <a:pt x="616648" y="364171"/>
                </a:lnTo>
              </a:path>
            </a:pathLst>
          </a:custGeom>
          <a:solidFill>
            <a:srgbClr val="1E2C25">
              <a:alpha val="18000"/>
            </a:srgbClr>
          </a:solidFill>
          <a:ln w="96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12000E67-F13B-CC72-7586-555CD22B3A50}"/>
              </a:ext>
            </a:extLst>
          </p:cNvPr>
          <p:cNvSpPr/>
          <p:nvPr/>
        </p:nvSpPr>
        <p:spPr>
          <a:xfrm flipV="1">
            <a:off x="4535999" y="4467845"/>
            <a:ext cx="1245214" cy="1245256"/>
          </a:xfrm>
          <a:custGeom>
            <a:avLst/>
            <a:gdLst>
              <a:gd name="connsiteX0" fmla="*/ 1902365 w 2286952"/>
              <a:gd name="connsiteY0" fmla="*/ 991932 h 2287030"/>
              <a:gd name="connsiteX1" fmla="*/ 992178 w 2286952"/>
              <a:gd name="connsiteY1" fmla="*/ 384220 h 2287030"/>
              <a:gd name="connsiteX2" fmla="*/ 384535 w 2286952"/>
              <a:gd name="connsiteY2" fmla="*/ 1294369 h 2287030"/>
              <a:gd name="connsiteX3" fmla="*/ 1294731 w 2286952"/>
              <a:gd name="connsiteY3" fmla="*/ 1901964 h 2287030"/>
              <a:gd name="connsiteX4" fmla="*/ 1902365 w 2286952"/>
              <a:gd name="connsiteY4" fmla="*/ 991932 h 2287030"/>
              <a:gd name="connsiteX5" fmla="*/ 2084211 w 2286952"/>
              <a:gd name="connsiteY5" fmla="*/ 987574 h 2287030"/>
              <a:gd name="connsiteX6" fmla="*/ 2282510 w 2286952"/>
              <a:gd name="connsiteY6" fmla="*/ 1044499 h 2287030"/>
              <a:gd name="connsiteX7" fmla="*/ 2273571 w 2286952"/>
              <a:gd name="connsiteY7" fmla="*/ 1318706 h 2287030"/>
              <a:gd name="connsiteX8" fmla="*/ 2071737 w 2286952"/>
              <a:gd name="connsiteY8" fmla="*/ 1361976 h 2287030"/>
              <a:gd name="connsiteX9" fmla="*/ 2036049 w 2286952"/>
              <a:gd name="connsiteY9" fmla="*/ 1479023 h 2287030"/>
              <a:gd name="connsiteX10" fmla="*/ 2179234 w 2286952"/>
              <a:gd name="connsiteY10" fmla="*/ 1627185 h 2287030"/>
              <a:gd name="connsiteX11" fmla="*/ 2034006 w 2286952"/>
              <a:gd name="connsiteY11" fmla="*/ 1860078 h 2287030"/>
              <a:gd name="connsiteX12" fmla="*/ 1837808 w 2286952"/>
              <a:gd name="connsiteY12" fmla="*/ 1796732 h 2287030"/>
              <a:gd name="connsiteX13" fmla="*/ 1748536 w 2286952"/>
              <a:gd name="connsiteY13" fmla="*/ 1880473 h 2287030"/>
              <a:gd name="connsiteX14" fmla="*/ 1798441 w 2286952"/>
              <a:gd name="connsiteY14" fmla="*/ 2080381 h 2287030"/>
              <a:gd name="connsiteX15" fmla="*/ 1556135 w 2286952"/>
              <a:gd name="connsiteY15" fmla="*/ 2209301 h 2287030"/>
              <a:gd name="connsiteX16" fmla="*/ 1417985 w 2286952"/>
              <a:gd name="connsiteY16" fmla="*/ 2056431 h 2287030"/>
              <a:gd name="connsiteX17" fmla="*/ 1330002 w 2286952"/>
              <a:gd name="connsiteY17" fmla="*/ 2078434 h 2287030"/>
              <a:gd name="connsiteX18" fmla="*/ 1298973 w 2286952"/>
              <a:gd name="connsiteY18" fmla="*/ 2083847 h 2287030"/>
              <a:gd name="connsiteX19" fmla="*/ 1242106 w 2286952"/>
              <a:gd name="connsiteY19" fmla="*/ 2282147 h 2287030"/>
              <a:gd name="connsiteX20" fmla="*/ 967889 w 2286952"/>
              <a:gd name="connsiteY20" fmla="*/ 2273267 h 2287030"/>
              <a:gd name="connsiteX21" fmla="*/ 924513 w 2286952"/>
              <a:gd name="connsiteY21" fmla="*/ 2071297 h 2287030"/>
              <a:gd name="connsiteX22" fmla="*/ 807553 w 2286952"/>
              <a:gd name="connsiteY22" fmla="*/ 2035667 h 2287030"/>
              <a:gd name="connsiteX23" fmla="*/ 659332 w 2286952"/>
              <a:gd name="connsiteY23" fmla="*/ 2178833 h 2287030"/>
              <a:gd name="connsiteX24" fmla="*/ 426410 w 2286952"/>
              <a:gd name="connsiteY24" fmla="*/ 2033624 h 2287030"/>
              <a:gd name="connsiteX25" fmla="*/ 489844 w 2286952"/>
              <a:gd name="connsiteY25" fmla="*/ 1837339 h 2287030"/>
              <a:gd name="connsiteX26" fmla="*/ 406150 w 2286952"/>
              <a:gd name="connsiteY26" fmla="*/ 1748212 h 2287030"/>
              <a:gd name="connsiteX27" fmla="*/ 206185 w 2286952"/>
              <a:gd name="connsiteY27" fmla="*/ 1798049 h 2287030"/>
              <a:gd name="connsiteX28" fmla="*/ 77256 w 2286952"/>
              <a:gd name="connsiteY28" fmla="*/ 1555714 h 2287030"/>
              <a:gd name="connsiteX29" fmla="*/ 230144 w 2286952"/>
              <a:gd name="connsiteY29" fmla="*/ 1417614 h 2287030"/>
              <a:gd name="connsiteX30" fmla="*/ 208122 w 2286952"/>
              <a:gd name="connsiteY30" fmla="*/ 1329581 h 2287030"/>
              <a:gd name="connsiteX31" fmla="*/ 202699 w 2286952"/>
              <a:gd name="connsiteY31" fmla="*/ 1298542 h 2287030"/>
              <a:gd name="connsiteX32" fmla="*/ 4389 w 2286952"/>
              <a:gd name="connsiteY32" fmla="*/ 1241723 h 2287030"/>
              <a:gd name="connsiteX33" fmla="*/ 13318 w 2286952"/>
              <a:gd name="connsiteY33" fmla="*/ 967488 h 2287030"/>
              <a:gd name="connsiteX34" fmla="*/ 215172 w 2286952"/>
              <a:gd name="connsiteY34" fmla="*/ 924247 h 2287030"/>
              <a:gd name="connsiteX35" fmla="*/ 250840 w 2286952"/>
              <a:gd name="connsiteY35" fmla="*/ 807278 h 2287030"/>
              <a:gd name="connsiteX36" fmla="*/ 107694 w 2286952"/>
              <a:gd name="connsiteY36" fmla="*/ 659037 h 2287030"/>
              <a:gd name="connsiteX37" fmla="*/ 252952 w 2286952"/>
              <a:gd name="connsiteY37" fmla="*/ 426096 h 2287030"/>
              <a:gd name="connsiteX38" fmla="*/ 449159 w 2286952"/>
              <a:gd name="connsiteY38" fmla="*/ 489433 h 2287030"/>
              <a:gd name="connsiteX39" fmla="*/ 538363 w 2286952"/>
              <a:gd name="connsiteY39" fmla="*/ 405788 h 2287030"/>
              <a:gd name="connsiteX40" fmla="*/ 488469 w 2286952"/>
              <a:gd name="connsiteY40" fmla="*/ 205803 h 2287030"/>
              <a:gd name="connsiteX41" fmla="*/ 730736 w 2286952"/>
              <a:gd name="connsiteY41" fmla="*/ 76864 h 2287030"/>
              <a:gd name="connsiteX42" fmla="*/ 868885 w 2286952"/>
              <a:gd name="connsiteY42" fmla="*/ 229802 h 2287030"/>
              <a:gd name="connsiteX43" fmla="*/ 956994 w 2286952"/>
              <a:gd name="connsiteY43" fmla="*/ 207711 h 2287030"/>
              <a:gd name="connsiteX44" fmla="*/ 987946 w 2286952"/>
              <a:gd name="connsiteY44" fmla="*/ 202375 h 2287030"/>
              <a:gd name="connsiteX45" fmla="*/ 1044803 w 2286952"/>
              <a:gd name="connsiteY45" fmla="*/ 3978 h 2287030"/>
              <a:gd name="connsiteX46" fmla="*/ 1319049 w 2286952"/>
              <a:gd name="connsiteY46" fmla="*/ 12879 h 2287030"/>
              <a:gd name="connsiteX47" fmla="*/ 1362387 w 2286952"/>
              <a:gd name="connsiteY47" fmla="*/ 214761 h 2287030"/>
              <a:gd name="connsiteX48" fmla="*/ 1479337 w 2286952"/>
              <a:gd name="connsiteY48" fmla="*/ 250439 h 2287030"/>
              <a:gd name="connsiteX49" fmla="*/ 1627577 w 2286952"/>
              <a:gd name="connsiteY49" fmla="*/ 107341 h 2287030"/>
              <a:gd name="connsiteX50" fmla="*/ 1860460 w 2286952"/>
              <a:gd name="connsiteY50" fmla="*/ 252570 h 2287030"/>
              <a:gd name="connsiteX51" fmla="*/ 1797143 w 2286952"/>
              <a:gd name="connsiteY51" fmla="*/ 448748 h 2287030"/>
              <a:gd name="connsiteX52" fmla="*/ 1880807 w 2286952"/>
              <a:gd name="connsiteY52" fmla="*/ 537981 h 2287030"/>
              <a:gd name="connsiteX53" fmla="*/ 2080685 w 2286952"/>
              <a:gd name="connsiteY53" fmla="*/ 488096 h 2287030"/>
              <a:gd name="connsiteX54" fmla="*/ 2209605 w 2286952"/>
              <a:gd name="connsiteY54" fmla="*/ 730451 h 2287030"/>
              <a:gd name="connsiteX55" fmla="*/ 2056813 w 2286952"/>
              <a:gd name="connsiteY55" fmla="*/ 868542 h 2287030"/>
              <a:gd name="connsiteX56" fmla="*/ 2078865 w 2286952"/>
              <a:gd name="connsiteY56" fmla="*/ 956612 h 2287030"/>
              <a:gd name="connsiteX57" fmla="*/ 2084211 w 2286952"/>
              <a:gd name="connsiteY57" fmla="*/ 987574 h 2287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286952" h="2287030">
                <a:moveTo>
                  <a:pt x="1902365" y="991932"/>
                </a:moveTo>
                <a:cubicBezTo>
                  <a:pt x="1818729" y="572681"/>
                  <a:pt x="1411274" y="300576"/>
                  <a:pt x="992178" y="384220"/>
                </a:cubicBezTo>
                <a:cubicBezTo>
                  <a:pt x="573024" y="467711"/>
                  <a:pt x="300977" y="875301"/>
                  <a:pt x="384535" y="1294369"/>
                </a:cubicBezTo>
                <a:cubicBezTo>
                  <a:pt x="468112" y="1713523"/>
                  <a:pt x="875645" y="1985540"/>
                  <a:pt x="1294731" y="1901964"/>
                </a:cubicBezTo>
                <a:cubicBezTo>
                  <a:pt x="1713885" y="1818376"/>
                  <a:pt x="1985874" y="1410892"/>
                  <a:pt x="1902365" y="991932"/>
                </a:cubicBezTo>
                <a:close/>
                <a:moveTo>
                  <a:pt x="2084211" y="987574"/>
                </a:moveTo>
                <a:lnTo>
                  <a:pt x="2282510" y="1044499"/>
                </a:lnTo>
                <a:cubicBezTo>
                  <a:pt x="2290693" y="1137509"/>
                  <a:pt x="2287478" y="1229521"/>
                  <a:pt x="2273571" y="1318706"/>
                </a:cubicBezTo>
                <a:lnTo>
                  <a:pt x="2071737" y="1361976"/>
                </a:lnTo>
                <a:cubicBezTo>
                  <a:pt x="2062362" y="1401934"/>
                  <a:pt x="2050460" y="1441011"/>
                  <a:pt x="2036049" y="1479023"/>
                </a:cubicBezTo>
                <a:lnTo>
                  <a:pt x="2179234" y="1627185"/>
                </a:lnTo>
                <a:cubicBezTo>
                  <a:pt x="2140245" y="1710356"/>
                  <a:pt x="2091464" y="1788568"/>
                  <a:pt x="2034006" y="1860078"/>
                </a:cubicBezTo>
                <a:lnTo>
                  <a:pt x="1837808" y="1796732"/>
                </a:lnTo>
                <a:cubicBezTo>
                  <a:pt x="1809868" y="1826483"/>
                  <a:pt x="1780224" y="1854403"/>
                  <a:pt x="1748536" y="1880473"/>
                </a:cubicBezTo>
                <a:lnTo>
                  <a:pt x="1798441" y="2080381"/>
                </a:lnTo>
                <a:cubicBezTo>
                  <a:pt x="1724199" y="2132338"/>
                  <a:pt x="1643043" y="2175773"/>
                  <a:pt x="1556135" y="2209301"/>
                </a:cubicBezTo>
                <a:lnTo>
                  <a:pt x="1417985" y="2056431"/>
                </a:lnTo>
                <a:cubicBezTo>
                  <a:pt x="1389271" y="2065041"/>
                  <a:pt x="1359975" y="2072459"/>
                  <a:pt x="1330002" y="2078434"/>
                </a:cubicBezTo>
                <a:cubicBezTo>
                  <a:pt x="1319601" y="2080497"/>
                  <a:pt x="1309258" y="2082104"/>
                  <a:pt x="1298973" y="2083847"/>
                </a:cubicBezTo>
                <a:lnTo>
                  <a:pt x="1242106" y="2282147"/>
                </a:lnTo>
                <a:cubicBezTo>
                  <a:pt x="1149038" y="2290292"/>
                  <a:pt x="1057093" y="2287144"/>
                  <a:pt x="967889" y="2273267"/>
                </a:cubicBezTo>
                <a:lnTo>
                  <a:pt x="924513" y="2071297"/>
                </a:lnTo>
                <a:cubicBezTo>
                  <a:pt x="884680" y="2061961"/>
                  <a:pt x="845574" y="2050059"/>
                  <a:pt x="807553" y="2035667"/>
                </a:cubicBezTo>
                <a:lnTo>
                  <a:pt x="659332" y="2178833"/>
                </a:lnTo>
                <a:cubicBezTo>
                  <a:pt x="576123" y="2139873"/>
                  <a:pt x="497901" y="2091101"/>
                  <a:pt x="426410" y="2033624"/>
                </a:cubicBezTo>
                <a:lnTo>
                  <a:pt x="489844" y="1837339"/>
                </a:lnTo>
                <a:cubicBezTo>
                  <a:pt x="460161" y="1809544"/>
                  <a:pt x="432124" y="1779803"/>
                  <a:pt x="406150" y="1748212"/>
                </a:cubicBezTo>
                <a:lnTo>
                  <a:pt x="206185" y="1798049"/>
                </a:lnTo>
                <a:cubicBezTo>
                  <a:pt x="154267" y="1723895"/>
                  <a:pt x="110832" y="1642787"/>
                  <a:pt x="77256" y="1555714"/>
                </a:cubicBezTo>
                <a:lnTo>
                  <a:pt x="230144" y="1417614"/>
                </a:lnTo>
                <a:cubicBezTo>
                  <a:pt x="221525" y="1388850"/>
                  <a:pt x="214097" y="1359584"/>
                  <a:pt x="208122" y="1329581"/>
                </a:cubicBezTo>
                <a:cubicBezTo>
                  <a:pt x="206030" y="1319219"/>
                  <a:pt x="204422" y="1308915"/>
                  <a:pt x="202699" y="1298542"/>
                </a:cubicBezTo>
                <a:lnTo>
                  <a:pt x="4389" y="1241723"/>
                </a:lnTo>
                <a:cubicBezTo>
                  <a:pt x="-3687" y="1148714"/>
                  <a:pt x="-579" y="1056779"/>
                  <a:pt x="13318" y="967488"/>
                </a:cubicBezTo>
                <a:lnTo>
                  <a:pt x="215172" y="924247"/>
                </a:lnTo>
                <a:cubicBezTo>
                  <a:pt x="224605" y="884376"/>
                  <a:pt x="236488" y="845318"/>
                  <a:pt x="250840" y="807278"/>
                </a:cubicBezTo>
                <a:lnTo>
                  <a:pt x="107694" y="659037"/>
                </a:lnTo>
                <a:cubicBezTo>
                  <a:pt x="146626" y="575809"/>
                  <a:pt x="195435" y="497558"/>
                  <a:pt x="252952" y="426096"/>
                </a:cubicBezTo>
                <a:lnTo>
                  <a:pt x="449159" y="489433"/>
                </a:lnTo>
                <a:cubicBezTo>
                  <a:pt x="477050" y="459692"/>
                  <a:pt x="506714" y="431743"/>
                  <a:pt x="538363" y="405788"/>
                </a:cubicBezTo>
                <a:lnTo>
                  <a:pt x="488469" y="205803"/>
                </a:lnTo>
                <a:cubicBezTo>
                  <a:pt x="562691" y="153904"/>
                  <a:pt x="643798" y="110469"/>
                  <a:pt x="730736" y="76864"/>
                </a:cubicBezTo>
                <a:lnTo>
                  <a:pt x="868885" y="229802"/>
                </a:lnTo>
                <a:cubicBezTo>
                  <a:pt x="897609" y="221182"/>
                  <a:pt x="926972" y="213687"/>
                  <a:pt x="956994" y="207711"/>
                </a:cubicBezTo>
                <a:cubicBezTo>
                  <a:pt x="967308" y="205609"/>
                  <a:pt x="977670" y="204070"/>
                  <a:pt x="987946" y="202375"/>
                </a:cubicBezTo>
                <a:lnTo>
                  <a:pt x="1044803" y="3978"/>
                </a:lnTo>
                <a:cubicBezTo>
                  <a:pt x="1137881" y="-4156"/>
                  <a:pt x="1229816" y="-1028"/>
                  <a:pt x="1319049" y="12879"/>
                </a:cubicBezTo>
                <a:lnTo>
                  <a:pt x="1362387" y="214761"/>
                </a:lnTo>
                <a:cubicBezTo>
                  <a:pt x="1402239" y="224262"/>
                  <a:pt x="1441364" y="236038"/>
                  <a:pt x="1479337" y="250439"/>
                </a:cubicBezTo>
                <a:lnTo>
                  <a:pt x="1627577" y="107341"/>
                </a:lnTo>
                <a:cubicBezTo>
                  <a:pt x="1710747" y="146311"/>
                  <a:pt x="1788940" y="195054"/>
                  <a:pt x="1860460" y="252570"/>
                </a:cubicBezTo>
                <a:lnTo>
                  <a:pt x="1797143" y="448748"/>
                </a:lnTo>
                <a:cubicBezTo>
                  <a:pt x="1826768" y="476649"/>
                  <a:pt x="1854766" y="506361"/>
                  <a:pt x="1880807" y="537981"/>
                </a:cubicBezTo>
                <a:lnTo>
                  <a:pt x="2080685" y="488096"/>
                </a:lnTo>
                <a:cubicBezTo>
                  <a:pt x="2132633" y="562299"/>
                  <a:pt x="2176058" y="643484"/>
                  <a:pt x="2209605" y="730451"/>
                </a:cubicBezTo>
                <a:lnTo>
                  <a:pt x="2056813" y="868542"/>
                </a:lnTo>
                <a:cubicBezTo>
                  <a:pt x="2065326" y="897295"/>
                  <a:pt x="2072879" y="926610"/>
                  <a:pt x="2078865" y="956612"/>
                </a:cubicBezTo>
                <a:cubicBezTo>
                  <a:pt x="2080908" y="966946"/>
                  <a:pt x="2082496" y="977221"/>
                  <a:pt x="2084211" y="987574"/>
                </a:cubicBezTo>
              </a:path>
            </a:pathLst>
          </a:custGeom>
          <a:solidFill>
            <a:srgbClr val="FB900E"/>
          </a:solidFill>
          <a:ln>
            <a:solidFill>
              <a:srgbClr val="FB90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9EB2BEA5-36D1-4016-B133-140B2F56C2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2762" y="4995726"/>
            <a:ext cx="610300" cy="6103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8ED30009-81A5-417B-21C4-2ACB49234F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19200" y="3011278"/>
            <a:ext cx="800374" cy="80037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54382C3-A91A-63BF-D790-155F349714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06688" y="4824816"/>
            <a:ext cx="504380" cy="50438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C1FAFD0-3181-7EB7-1D0A-BD4491A7E3E1}"/>
              </a:ext>
            </a:extLst>
          </p:cNvPr>
          <p:cNvCxnSpPr>
            <a:cxnSpLocks/>
          </p:cNvCxnSpPr>
          <p:nvPr/>
        </p:nvCxnSpPr>
        <p:spPr>
          <a:xfrm flipV="1">
            <a:off x="8616564" y="3233413"/>
            <a:ext cx="0" cy="578239"/>
          </a:xfrm>
          <a:prstGeom prst="line">
            <a:avLst/>
          </a:prstGeom>
          <a:ln>
            <a:solidFill>
              <a:srgbClr val="43A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06C99D2-347D-38F7-B707-4EEE9A440EA9}"/>
              </a:ext>
            </a:extLst>
          </p:cNvPr>
          <p:cNvCxnSpPr>
            <a:cxnSpLocks/>
          </p:cNvCxnSpPr>
          <p:nvPr/>
        </p:nvCxnSpPr>
        <p:spPr>
          <a:xfrm flipV="1">
            <a:off x="6755675" y="1847668"/>
            <a:ext cx="0" cy="578239"/>
          </a:xfrm>
          <a:prstGeom prst="line">
            <a:avLst/>
          </a:prstGeom>
          <a:ln>
            <a:solidFill>
              <a:srgbClr val="0E6B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E1FE5D0-B0E8-35A7-9DE2-43324650FF26}"/>
              </a:ext>
            </a:extLst>
          </p:cNvPr>
          <p:cNvCxnSpPr>
            <a:cxnSpLocks/>
          </p:cNvCxnSpPr>
          <p:nvPr/>
        </p:nvCxnSpPr>
        <p:spPr>
          <a:xfrm>
            <a:off x="4020206" y="5237613"/>
            <a:ext cx="358606" cy="0"/>
          </a:xfrm>
          <a:prstGeom prst="line">
            <a:avLst/>
          </a:prstGeom>
          <a:ln>
            <a:solidFill>
              <a:srgbClr val="FB90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97E9959-4C1F-B990-026F-B26EA52ED7C2}"/>
              </a:ext>
            </a:extLst>
          </p:cNvPr>
          <p:cNvCxnSpPr>
            <a:cxnSpLocks/>
          </p:cNvCxnSpPr>
          <p:nvPr/>
        </p:nvCxnSpPr>
        <p:spPr>
          <a:xfrm>
            <a:off x="5619200" y="6102478"/>
            <a:ext cx="476800" cy="0"/>
          </a:xfrm>
          <a:prstGeom prst="line">
            <a:avLst/>
          </a:prstGeom>
          <a:ln>
            <a:solidFill>
              <a:srgbClr val="9D2F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Graphic 62">
            <a:extLst>
              <a:ext uri="{FF2B5EF4-FFF2-40B4-BE49-F238E27FC236}">
                <a16:creationId xmlns:a16="http://schemas.microsoft.com/office/drawing/2014/main" id="{FF1060E6-4561-AC3D-FEA6-8DB92D13BD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7215" y="416550"/>
            <a:ext cx="1031260" cy="1031260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2931202A-7A25-09B2-B2E8-9AC02A6788FB}"/>
              </a:ext>
            </a:extLst>
          </p:cNvPr>
          <p:cNvSpPr/>
          <p:nvPr/>
        </p:nvSpPr>
        <p:spPr>
          <a:xfrm>
            <a:off x="8087720" y="4466882"/>
            <a:ext cx="1057689" cy="1057689"/>
          </a:xfrm>
          <a:prstGeom prst="ellipse">
            <a:avLst/>
          </a:prstGeom>
          <a:solidFill>
            <a:schemeClr val="bg1"/>
          </a:solidFill>
          <a:ln>
            <a:solidFill>
              <a:srgbClr val="43AD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057881C-AEFE-84D7-5D16-8DE4788E222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39155" y="4709432"/>
            <a:ext cx="554818" cy="55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646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1048F9CE-1EBF-DBC1-A561-AD4A04F44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84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1048F9CE-1EBF-DBC1-A561-AD4A04F44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C8F31CA-D344-018E-7DBA-17E41E37AA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BC9D0D-DC3A-24F2-FCAF-65C36462D7DC}"/>
              </a:ext>
            </a:extLst>
          </p:cNvPr>
          <p:cNvSpPr/>
          <p:nvPr/>
        </p:nvSpPr>
        <p:spPr>
          <a:xfrm>
            <a:off x="3642102" y="981075"/>
            <a:ext cx="8214936" cy="54006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 descr="A tree in a field&#10;&#10;Description automatically generated with medium confidence">
            <a:extLst>
              <a:ext uri="{FF2B5EF4-FFF2-40B4-BE49-F238E27FC236}">
                <a16:creationId xmlns:a16="http://schemas.microsoft.com/office/drawing/2014/main" id="{0AB9A09D-43BD-8DA0-D859-74B255EC498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5" r="33315"/>
          <a:stretch/>
        </p:blipFill>
        <p:spPr>
          <a:xfrm>
            <a:off x="0" y="0"/>
            <a:ext cx="3429001" cy="6858000"/>
          </a:xfrm>
          <a:custGeom>
            <a:avLst/>
            <a:gdLst>
              <a:gd name="connsiteX0" fmla="*/ 0 w 3429001"/>
              <a:gd name="connsiteY0" fmla="*/ 0 h 6858000"/>
              <a:gd name="connsiteX1" fmla="*/ 1714500 w 3429001"/>
              <a:gd name="connsiteY1" fmla="*/ 0 h 6858000"/>
              <a:gd name="connsiteX2" fmla="*/ 3429001 w 3429001"/>
              <a:gd name="connsiteY2" fmla="*/ 1714501 h 6858000"/>
              <a:gd name="connsiteX3" fmla="*/ 3429000 w 3429001"/>
              <a:gd name="connsiteY3" fmla="*/ 6858000 h 6858000"/>
              <a:gd name="connsiteX4" fmla="*/ 0 w 34290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1" h="6858000">
                <a:moveTo>
                  <a:pt x="0" y="0"/>
                </a:moveTo>
                <a:lnTo>
                  <a:pt x="1714500" y="0"/>
                </a:lnTo>
                <a:cubicBezTo>
                  <a:pt x="2661393" y="0"/>
                  <a:pt x="3429001" y="767608"/>
                  <a:pt x="3429001" y="1714501"/>
                </a:cubicBezTo>
                <a:cubicBezTo>
                  <a:pt x="3429001" y="3429001"/>
                  <a:pt x="3429000" y="5143500"/>
                  <a:pt x="3429000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id="{1A52BA2B-89CD-CADE-5B4A-895AA28A941F}"/>
              </a:ext>
            </a:extLst>
          </p:cNvPr>
          <p:cNvSpPr/>
          <p:nvPr/>
        </p:nvSpPr>
        <p:spPr>
          <a:xfrm>
            <a:off x="-1" y="0"/>
            <a:ext cx="3429001" cy="6858000"/>
          </a:xfrm>
          <a:prstGeom prst="round1Rect">
            <a:avLst>
              <a:gd name="adj" fmla="val 50000"/>
            </a:avLst>
          </a:prstGeom>
          <a:solidFill>
            <a:srgbClr val="243D42">
              <a:alpha val="80000"/>
            </a:srgbClr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633410-C406-59D1-D5BF-C9D191D67BB2}"/>
              </a:ext>
            </a:extLst>
          </p:cNvPr>
          <p:cNvSpPr txBox="1"/>
          <p:nvPr/>
        </p:nvSpPr>
        <p:spPr>
          <a:xfrm>
            <a:off x="237423" y="3168134"/>
            <a:ext cx="295415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ata-Driven Procurement Planning Cycle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80667D0-BA82-3F9B-1EF4-792B91872130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6E9B916-A609-FDF2-FFBD-DFF1BDF35AE4}"/>
              </a:ext>
            </a:extLst>
          </p:cNvPr>
          <p:cNvGrpSpPr/>
          <p:nvPr/>
        </p:nvGrpSpPr>
        <p:grpSpPr>
          <a:xfrm>
            <a:off x="-1" y="6082301"/>
            <a:ext cx="1872343" cy="664552"/>
            <a:chOff x="-1" y="6082301"/>
            <a:chExt cx="1872343" cy="664552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CB8410-0391-627E-5D64-05954F5F9F4B}"/>
                </a:ext>
              </a:extLst>
            </p:cNvPr>
            <p:cNvSpPr/>
            <p:nvPr/>
          </p:nvSpPr>
          <p:spPr>
            <a:xfrm rot="5400000" flipV="1">
              <a:off x="603895" y="5478405"/>
              <a:ext cx="664552" cy="1872343"/>
            </a:xfrm>
            <a:custGeom>
              <a:avLst/>
              <a:gdLst>
                <a:gd name="connsiteX0" fmla="*/ 693711 w 1298190"/>
                <a:gd name="connsiteY0" fmla="*/ 48 h 3657590"/>
                <a:gd name="connsiteX1" fmla="*/ 681011 w 1298190"/>
                <a:gd name="connsiteY1" fmla="*/ 48 h 3657590"/>
                <a:gd name="connsiteX2" fmla="*/ 681011 w 1298190"/>
                <a:gd name="connsiteY2" fmla="*/ 660902 h 3657590"/>
                <a:gd name="connsiteX3" fmla="*/ 679690 w 1298190"/>
                <a:gd name="connsiteY3" fmla="*/ 665095 h 3657590"/>
                <a:gd name="connsiteX4" fmla="*/ 678077 w 1298190"/>
                <a:gd name="connsiteY4" fmla="*/ 669818 h 3657590"/>
                <a:gd name="connsiteX5" fmla="*/ 676401 w 1298190"/>
                <a:gd name="connsiteY5" fmla="*/ 674352 h 3657590"/>
                <a:gd name="connsiteX6" fmla="*/ 674699 w 1298190"/>
                <a:gd name="connsiteY6" fmla="*/ 678682 h 3657590"/>
                <a:gd name="connsiteX7" fmla="*/ 672959 w 1298190"/>
                <a:gd name="connsiteY7" fmla="*/ 682835 h 3657590"/>
                <a:gd name="connsiteX8" fmla="*/ 671194 w 1298190"/>
                <a:gd name="connsiteY8" fmla="*/ 686824 h 3657590"/>
                <a:gd name="connsiteX9" fmla="*/ 669403 w 1298190"/>
                <a:gd name="connsiteY9" fmla="*/ 690648 h 3657590"/>
                <a:gd name="connsiteX10" fmla="*/ 667613 w 1298190"/>
                <a:gd name="connsiteY10" fmla="*/ 694289 h 3657590"/>
                <a:gd name="connsiteX11" fmla="*/ 665797 w 1298190"/>
                <a:gd name="connsiteY11" fmla="*/ 697797 h 3657590"/>
                <a:gd name="connsiteX12" fmla="*/ 663980 w 1298190"/>
                <a:gd name="connsiteY12" fmla="*/ 701151 h 3657590"/>
                <a:gd name="connsiteX13" fmla="*/ 662152 w 1298190"/>
                <a:gd name="connsiteY13" fmla="*/ 704376 h 3657590"/>
                <a:gd name="connsiteX14" fmla="*/ 660310 w 1298190"/>
                <a:gd name="connsiteY14" fmla="*/ 707476 h 3657590"/>
                <a:gd name="connsiteX15" fmla="*/ 658469 w 1298190"/>
                <a:gd name="connsiteY15" fmla="*/ 710432 h 3657590"/>
                <a:gd name="connsiteX16" fmla="*/ 656614 w 1298190"/>
                <a:gd name="connsiteY16" fmla="*/ 713281 h 3657590"/>
                <a:gd name="connsiteX17" fmla="*/ 654760 w 1298190"/>
                <a:gd name="connsiteY17" fmla="*/ 715993 h 3657590"/>
                <a:gd name="connsiteX18" fmla="*/ 652906 w 1298190"/>
                <a:gd name="connsiteY18" fmla="*/ 718598 h 3657590"/>
                <a:gd name="connsiteX19" fmla="*/ 651039 w 1298190"/>
                <a:gd name="connsiteY19" fmla="*/ 721089 h 3657590"/>
                <a:gd name="connsiteX20" fmla="*/ 649172 w 1298190"/>
                <a:gd name="connsiteY20" fmla="*/ 723465 h 3657590"/>
                <a:gd name="connsiteX21" fmla="*/ 647305 w 1298190"/>
                <a:gd name="connsiteY21" fmla="*/ 725722 h 3657590"/>
                <a:gd name="connsiteX22" fmla="*/ 645426 w 1298190"/>
                <a:gd name="connsiteY22" fmla="*/ 727886 h 3657590"/>
                <a:gd name="connsiteX23" fmla="*/ 643533 w 1298190"/>
                <a:gd name="connsiteY23" fmla="*/ 729939 h 3657590"/>
                <a:gd name="connsiteX24" fmla="*/ 612863 w 1298190"/>
                <a:gd name="connsiteY24" fmla="*/ 746936 h 3657590"/>
                <a:gd name="connsiteX25" fmla="*/ 553097 w 1298190"/>
                <a:gd name="connsiteY25" fmla="*/ 653094 h 3657590"/>
                <a:gd name="connsiteX26" fmla="*/ 552056 w 1298190"/>
                <a:gd name="connsiteY26" fmla="*/ 647543 h 3657590"/>
                <a:gd name="connsiteX27" fmla="*/ 546430 w 1298190"/>
                <a:gd name="connsiteY27" fmla="*/ 647910 h 3657590"/>
                <a:gd name="connsiteX28" fmla="*/ 385826 w 1298190"/>
                <a:gd name="connsiteY28" fmla="*/ 681580 h 3657590"/>
                <a:gd name="connsiteX29" fmla="*/ 384772 w 1298190"/>
                <a:gd name="connsiteY29" fmla="*/ 681961 h 3657590"/>
                <a:gd name="connsiteX30" fmla="*/ 382968 w 1298190"/>
                <a:gd name="connsiteY30" fmla="*/ 682607 h 3657590"/>
                <a:gd name="connsiteX31" fmla="*/ 380504 w 1298190"/>
                <a:gd name="connsiteY31" fmla="*/ 683510 h 3657590"/>
                <a:gd name="connsiteX32" fmla="*/ 381660 w 1298190"/>
                <a:gd name="connsiteY32" fmla="*/ 688402 h 3657590"/>
                <a:gd name="connsiteX33" fmla="*/ 381800 w 1298190"/>
                <a:gd name="connsiteY33" fmla="*/ 689021 h 3657590"/>
                <a:gd name="connsiteX34" fmla="*/ 383438 w 1298190"/>
                <a:gd name="connsiteY34" fmla="*/ 696542 h 3657590"/>
                <a:gd name="connsiteX35" fmla="*/ 384784 w 1298190"/>
                <a:gd name="connsiteY35" fmla="*/ 704058 h 3657590"/>
                <a:gd name="connsiteX36" fmla="*/ 385788 w 1298190"/>
                <a:gd name="connsiteY36" fmla="*/ 711067 h 3657590"/>
                <a:gd name="connsiteX37" fmla="*/ 386511 w 1298190"/>
                <a:gd name="connsiteY37" fmla="*/ 717661 h 3657590"/>
                <a:gd name="connsiteX38" fmla="*/ 387007 w 1298190"/>
                <a:gd name="connsiteY38" fmla="*/ 723907 h 3657590"/>
                <a:gd name="connsiteX39" fmla="*/ 387299 w 1298190"/>
                <a:gd name="connsiteY39" fmla="*/ 729825 h 3657590"/>
                <a:gd name="connsiteX40" fmla="*/ 387413 w 1298190"/>
                <a:gd name="connsiteY40" fmla="*/ 735480 h 3657590"/>
                <a:gd name="connsiteX41" fmla="*/ 387362 w 1298190"/>
                <a:gd name="connsiteY41" fmla="*/ 740849 h 3657590"/>
                <a:gd name="connsiteX42" fmla="*/ 387172 w 1298190"/>
                <a:gd name="connsiteY42" fmla="*/ 745968 h 3657590"/>
                <a:gd name="connsiteX43" fmla="*/ 386816 w 1298190"/>
                <a:gd name="connsiteY43" fmla="*/ 750845 h 3657590"/>
                <a:gd name="connsiteX44" fmla="*/ 386346 w 1298190"/>
                <a:gd name="connsiteY44" fmla="*/ 755493 h 3657590"/>
                <a:gd name="connsiteX45" fmla="*/ 385737 w 1298190"/>
                <a:gd name="connsiteY45" fmla="*/ 759923 h 3657590"/>
                <a:gd name="connsiteX46" fmla="*/ 385000 w 1298190"/>
                <a:gd name="connsiteY46" fmla="*/ 764130 h 3657590"/>
                <a:gd name="connsiteX47" fmla="*/ 384149 w 1298190"/>
                <a:gd name="connsiteY47" fmla="*/ 768128 h 3657590"/>
                <a:gd name="connsiteX48" fmla="*/ 383184 w 1298190"/>
                <a:gd name="connsiteY48" fmla="*/ 771914 h 3657590"/>
                <a:gd name="connsiteX49" fmla="*/ 382105 w 1298190"/>
                <a:gd name="connsiteY49" fmla="*/ 775485 h 3657590"/>
                <a:gd name="connsiteX50" fmla="*/ 380898 w 1298190"/>
                <a:gd name="connsiteY50" fmla="*/ 778834 h 3657590"/>
                <a:gd name="connsiteX51" fmla="*/ 379590 w 1298190"/>
                <a:gd name="connsiteY51" fmla="*/ 781984 h 3657590"/>
                <a:gd name="connsiteX52" fmla="*/ 378168 w 1298190"/>
                <a:gd name="connsiteY52" fmla="*/ 784906 h 3657590"/>
                <a:gd name="connsiteX53" fmla="*/ 376631 w 1298190"/>
                <a:gd name="connsiteY53" fmla="*/ 787600 h 3657590"/>
                <a:gd name="connsiteX54" fmla="*/ 374993 w 1298190"/>
                <a:gd name="connsiteY54" fmla="*/ 790075 h 3657590"/>
                <a:gd name="connsiteX55" fmla="*/ 373253 w 1298190"/>
                <a:gd name="connsiteY55" fmla="*/ 792313 h 3657590"/>
                <a:gd name="connsiteX56" fmla="*/ 365976 w 1298190"/>
                <a:gd name="connsiteY56" fmla="*/ 798519 h 3657590"/>
                <a:gd name="connsiteX57" fmla="*/ 352171 w 1298190"/>
                <a:gd name="connsiteY57" fmla="*/ 801952 h 3657590"/>
                <a:gd name="connsiteX58" fmla="*/ 267272 w 1298190"/>
                <a:gd name="connsiteY58" fmla="*/ 747149 h 3657590"/>
                <a:gd name="connsiteX59" fmla="*/ 263601 w 1298190"/>
                <a:gd name="connsiteY59" fmla="*/ 742867 h 3657590"/>
                <a:gd name="connsiteX60" fmla="*/ 258915 w 1298190"/>
                <a:gd name="connsiteY60" fmla="*/ 746017 h 3657590"/>
                <a:gd name="connsiteX61" fmla="*/ 172365 w 1298190"/>
                <a:gd name="connsiteY61" fmla="*/ 816948 h 3657590"/>
                <a:gd name="connsiteX62" fmla="*/ 136792 w 1298190"/>
                <a:gd name="connsiteY62" fmla="*/ 855555 h 3657590"/>
                <a:gd name="connsiteX63" fmla="*/ 133147 w 1298190"/>
                <a:gd name="connsiteY63" fmla="*/ 859875 h 3657590"/>
                <a:gd name="connsiteX64" fmla="*/ 137033 w 1298190"/>
                <a:gd name="connsiteY64" fmla="*/ 864003 h 3657590"/>
                <a:gd name="connsiteX65" fmla="*/ 151041 w 1298190"/>
                <a:gd name="connsiteY65" fmla="*/ 880523 h 3657590"/>
                <a:gd name="connsiteX66" fmla="*/ 154940 w 1298190"/>
                <a:gd name="connsiteY66" fmla="*/ 885806 h 3657590"/>
                <a:gd name="connsiteX67" fmla="*/ 159322 w 1298190"/>
                <a:gd name="connsiteY67" fmla="*/ 892181 h 3657590"/>
                <a:gd name="connsiteX68" fmla="*/ 163056 w 1298190"/>
                <a:gd name="connsiteY68" fmla="*/ 898050 h 3657590"/>
                <a:gd name="connsiteX69" fmla="*/ 166269 w 1298190"/>
                <a:gd name="connsiteY69" fmla="*/ 903521 h 3657590"/>
                <a:gd name="connsiteX70" fmla="*/ 169075 w 1298190"/>
                <a:gd name="connsiteY70" fmla="*/ 908666 h 3657590"/>
                <a:gd name="connsiteX71" fmla="*/ 171514 w 1298190"/>
                <a:gd name="connsiteY71" fmla="*/ 913543 h 3657590"/>
                <a:gd name="connsiteX72" fmla="*/ 173647 w 1298190"/>
                <a:gd name="connsiteY72" fmla="*/ 918191 h 3657590"/>
                <a:gd name="connsiteX73" fmla="*/ 175489 w 1298190"/>
                <a:gd name="connsiteY73" fmla="*/ 922626 h 3657590"/>
                <a:gd name="connsiteX74" fmla="*/ 177076 w 1298190"/>
                <a:gd name="connsiteY74" fmla="*/ 926854 h 3657590"/>
                <a:gd name="connsiteX75" fmla="*/ 178410 w 1298190"/>
                <a:gd name="connsiteY75" fmla="*/ 930906 h 3657590"/>
                <a:gd name="connsiteX76" fmla="*/ 179502 w 1298190"/>
                <a:gd name="connsiteY76" fmla="*/ 934791 h 3657590"/>
                <a:gd name="connsiteX77" fmla="*/ 180378 w 1298190"/>
                <a:gd name="connsiteY77" fmla="*/ 938511 h 3657590"/>
                <a:gd name="connsiteX78" fmla="*/ 181039 w 1298190"/>
                <a:gd name="connsiteY78" fmla="*/ 942083 h 3657590"/>
                <a:gd name="connsiteX79" fmla="*/ 181483 w 1298190"/>
                <a:gd name="connsiteY79" fmla="*/ 945486 h 3657590"/>
                <a:gd name="connsiteX80" fmla="*/ 181712 w 1298190"/>
                <a:gd name="connsiteY80" fmla="*/ 948751 h 3657590"/>
                <a:gd name="connsiteX81" fmla="*/ 181737 w 1298190"/>
                <a:gd name="connsiteY81" fmla="*/ 951861 h 3657590"/>
                <a:gd name="connsiteX82" fmla="*/ 181559 w 1298190"/>
                <a:gd name="connsiteY82" fmla="*/ 954833 h 3657590"/>
                <a:gd name="connsiteX83" fmla="*/ 181178 w 1298190"/>
                <a:gd name="connsiteY83" fmla="*/ 957665 h 3657590"/>
                <a:gd name="connsiteX84" fmla="*/ 180581 w 1298190"/>
                <a:gd name="connsiteY84" fmla="*/ 960345 h 3657590"/>
                <a:gd name="connsiteX85" fmla="*/ 179769 w 1298190"/>
                <a:gd name="connsiteY85" fmla="*/ 962869 h 3657590"/>
                <a:gd name="connsiteX86" fmla="*/ 178740 w 1298190"/>
                <a:gd name="connsiteY86" fmla="*/ 965246 h 3657590"/>
                <a:gd name="connsiteX87" fmla="*/ 177991 w 1298190"/>
                <a:gd name="connsiteY87" fmla="*/ 966654 h 3657590"/>
                <a:gd name="connsiteX88" fmla="*/ 177495 w 1298190"/>
                <a:gd name="connsiteY88" fmla="*/ 967468 h 3657590"/>
                <a:gd name="connsiteX89" fmla="*/ 175997 w 1298190"/>
                <a:gd name="connsiteY89" fmla="*/ 969552 h 3657590"/>
                <a:gd name="connsiteX90" fmla="*/ 132106 w 1298190"/>
                <a:gd name="connsiteY90" fmla="*/ 983586 h 3657590"/>
                <a:gd name="connsiteX91" fmla="*/ 66777 w 1298190"/>
                <a:gd name="connsiteY91" fmla="*/ 971481 h 3657590"/>
                <a:gd name="connsiteX92" fmla="*/ 63069 w 1298190"/>
                <a:gd name="connsiteY92" fmla="*/ 970172 h 3657590"/>
                <a:gd name="connsiteX93" fmla="*/ 61456 w 1298190"/>
                <a:gd name="connsiteY93" fmla="*/ 969602 h 3657590"/>
                <a:gd name="connsiteX94" fmla="*/ 58967 w 1298190"/>
                <a:gd name="connsiteY94" fmla="*/ 974672 h 3657590"/>
                <a:gd name="connsiteX95" fmla="*/ 7938 w 1298190"/>
                <a:gd name="connsiteY95" fmla="*/ 1130637 h 3657590"/>
                <a:gd name="connsiteX96" fmla="*/ 6948 w 1298190"/>
                <a:gd name="connsiteY96" fmla="*/ 1136199 h 3657590"/>
                <a:gd name="connsiteX97" fmla="*/ 12370 w 1298190"/>
                <a:gd name="connsiteY97" fmla="*/ 1137827 h 3657590"/>
                <a:gd name="connsiteX98" fmla="*/ 87122 w 1298190"/>
                <a:gd name="connsiteY98" fmla="*/ 1180560 h 3657590"/>
                <a:gd name="connsiteX99" fmla="*/ 89383 w 1298190"/>
                <a:gd name="connsiteY99" fmla="*/ 1183188 h 3657590"/>
                <a:gd name="connsiteX100" fmla="*/ 91377 w 1298190"/>
                <a:gd name="connsiteY100" fmla="*/ 1185754 h 3657590"/>
                <a:gd name="connsiteX101" fmla="*/ 93104 w 1298190"/>
                <a:gd name="connsiteY101" fmla="*/ 1188229 h 3657590"/>
                <a:gd name="connsiteX102" fmla="*/ 94577 w 1298190"/>
                <a:gd name="connsiteY102" fmla="*/ 1190621 h 3657590"/>
                <a:gd name="connsiteX103" fmla="*/ 95822 w 1298190"/>
                <a:gd name="connsiteY103" fmla="*/ 1192942 h 3657590"/>
                <a:gd name="connsiteX104" fmla="*/ 96863 w 1298190"/>
                <a:gd name="connsiteY104" fmla="*/ 1195219 h 3657590"/>
                <a:gd name="connsiteX105" fmla="*/ 97701 w 1298190"/>
                <a:gd name="connsiteY105" fmla="*/ 1197426 h 3657590"/>
                <a:gd name="connsiteX106" fmla="*/ 98349 w 1298190"/>
                <a:gd name="connsiteY106" fmla="*/ 1199586 h 3657590"/>
                <a:gd name="connsiteX107" fmla="*/ 98819 w 1298190"/>
                <a:gd name="connsiteY107" fmla="*/ 1201708 h 3657590"/>
                <a:gd name="connsiteX108" fmla="*/ 99124 w 1298190"/>
                <a:gd name="connsiteY108" fmla="*/ 1203802 h 3657590"/>
                <a:gd name="connsiteX109" fmla="*/ 99238 w 1298190"/>
                <a:gd name="connsiteY109" fmla="*/ 1205845 h 3657590"/>
                <a:gd name="connsiteX110" fmla="*/ 99238 w 1298190"/>
                <a:gd name="connsiteY110" fmla="*/ 1206277 h 3657590"/>
                <a:gd name="connsiteX111" fmla="*/ 99187 w 1298190"/>
                <a:gd name="connsiteY111" fmla="*/ 1207880 h 3657590"/>
                <a:gd name="connsiteX112" fmla="*/ 98946 w 1298190"/>
                <a:gd name="connsiteY112" fmla="*/ 1209884 h 3657590"/>
                <a:gd name="connsiteX113" fmla="*/ 98540 w 1298190"/>
                <a:gd name="connsiteY113" fmla="*/ 1211868 h 3657590"/>
                <a:gd name="connsiteX114" fmla="*/ 97968 w 1298190"/>
                <a:gd name="connsiteY114" fmla="*/ 1213847 h 3657590"/>
                <a:gd name="connsiteX115" fmla="*/ 97232 w 1298190"/>
                <a:gd name="connsiteY115" fmla="*/ 1215802 h 3657590"/>
                <a:gd name="connsiteX116" fmla="*/ 96330 w 1298190"/>
                <a:gd name="connsiteY116" fmla="*/ 1217757 h 3657590"/>
                <a:gd name="connsiteX117" fmla="*/ 95276 w 1298190"/>
                <a:gd name="connsiteY117" fmla="*/ 1219692 h 3657590"/>
                <a:gd name="connsiteX118" fmla="*/ 94082 w 1298190"/>
                <a:gd name="connsiteY118" fmla="*/ 1221606 h 3657590"/>
                <a:gd name="connsiteX119" fmla="*/ 92710 w 1298190"/>
                <a:gd name="connsiteY119" fmla="*/ 1223526 h 3657590"/>
                <a:gd name="connsiteX120" fmla="*/ 91225 w 1298190"/>
                <a:gd name="connsiteY120" fmla="*/ 1225416 h 3657590"/>
                <a:gd name="connsiteX121" fmla="*/ 89586 w 1298190"/>
                <a:gd name="connsiteY121" fmla="*/ 1227282 h 3657590"/>
                <a:gd name="connsiteX122" fmla="*/ 5436 w 1298190"/>
                <a:gd name="connsiteY122" fmla="*/ 1266016 h 3657590"/>
                <a:gd name="connsiteX123" fmla="*/ 3836 w 1298190"/>
                <a:gd name="connsiteY123" fmla="*/ 1266310 h 3657590"/>
                <a:gd name="connsiteX124" fmla="*/ -126 w 1298190"/>
                <a:gd name="connsiteY124" fmla="*/ 1267049 h 3657590"/>
                <a:gd name="connsiteX125" fmla="*/ 242 w 1298190"/>
                <a:gd name="connsiteY125" fmla="*/ 1272686 h 3657590"/>
                <a:gd name="connsiteX126" fmla="*/ 33922 w 1298190"/>
                <a:gd name="connsiteY126" fmla="*/ 1433290 h 3657590"/>
                <a:gd name="connsiteX127" fmla="*/ 35840 w 1298190"/>
                <a:gd name="connsiteY127" fmla="*/ 1438612 h 3657590"/>
                <a:gd name="connsiteX128" fmla="*/ 41352 w 1298190"/>
                <a:gd name="connsiteY128" fmla="*/ 1437303 h 3657590"/>
                <a:gd name="connsiteX129" fmla="*/ 88761 w 1298190"/>
                <a:gd name="connsiteY129" fmla="*/ 1431703 h 3657590"/>
                <a:gd name="connsiteX130" fmla="*/ 150864 w 1298190"/>
                <a:gd name="connsiteY130" fmla="*/ 1453128 h 3657590"/>
                <a:gd name="connsiteX131" fmla="*/ 126607 w 1298190"/>
                <a:gd name="connsiteY131" fmla="*/ 1524336 h 3657590"/>
                <a:gd name="connsiteX132" fmla="*/ 125400 w 1298190"/>
                <a:gd name="connsiteY132" fmla="*/ 1525771 h 3657590"/>
                <a:gd name="connsiteX133" fmla="*/ 124994 w 1298190"/>
                <a:gd name="connsiteY133" fmla="*/ 1526254 h 3657590"/>
                <a:gd name="connsiteX134" fmla="*/ 123279 w 1298190"/>
                <a:gd name="connsiteY134" fmla="*/ 1528261 h 3657590"/>
                <a:gd name="connsiteX135" fmla="*/ 121539 w 1298190"/>
                <a:gd name="connsiteY135" fmla="*/ 1530229 h 3657590"/>
                <a:gd name="connsiteX136" fmla="*/ 119749 w 1298190"/>
                <a:gd name="connsiteY136" fmla="*/ 1532223 h 3657590"/>
                <a:gd name="connsiteX137" fmla="*/ 117971 w 1298190"/>
                <a:gd name="connsiteY137" fmla="*/ 1534141 h 3657590"/>
                <a:gd name="connsiteX138" fmla="*/ 116116 w 1298190"/>
                <a:gd name="connsiteY138" fmla="*/ 1536109 h 3657590"/>
                <a:gd name="connsiteX139" fmla="*/ 114250 w 1298190"/>
                <a:gd name="connsiteY139" fmla="*/ 1538052 h 3657590"/>
                <a:gd name="connsiteX140" fmla="*/ 99492 w 1298190"/>
                <a:gd name="connsiteY140" fmla="*/ 1551870 h 3657590"/>
                <a:gd name="connsiteX141" fmla="*/ 99187 w 1298190"/>
                <a:gd name="connsiteY141" fmla="*/ 1552124 h 3657590"/>
                <a:gd name="connsiteX142" fmla="*/ 95200 w 1298190"/>
                <a:gd name="connsiteY142" fmla="*/ 1555540 h 3657590"/>
                <a:gd name="connsiteX143" fmla="*/ 98349 w 1298190"/>
                <a:gd name="connsiteY143" fmla="*/ 1560226 h 3657590"/>
                <a:gd name="connsiteX144" fmla="*/ 207899 w 1298190"/>
                <a:gd name="connsiteY144" fmla="*/ 1682311 h 3657590"/>
                <a:gd name="connsiteX145" fmla="*/ 212217 w 1298190"/>
                <a:gd name="connsiteY145" fmla="*/ 1685956 h 3657590"/>
                <a:gd name="connsiteX146" fmla="*/ 216332 w 1298190"/>
                <a:gd name="connsiteY146" fmla="*/ 1682083 h 3657590"/>
                <a:gd name="connsiteX147" fmla="*/ 303085 w 1298190"/>
                <a:gd name="connsiteY147" fmla="*/ 1637341 h 3657590"/>
                <a:gd name="connsiteX148" fmla="*/ 318998 w 1298190"/>
                <a:gd name="connsiteY148" fmla="*/ 1641113 h 3657590"/>
                <a:gd name="connsiteX149" fmla="*/ 323786 w 1298190"/>
                <a:gd name="connsiteY149" fmla="*/ 1752352 h 3657590"/>
                <a:gd name="connsiteX150" fmla="*/ 321907 w 1298190"/>
                <a:gd name="connsiteY150" fmla="*/ 1757686 h 3657590"/>
                <a:gd name="connsiteX151" fmla="*/ 326974 w 1298190"/>
                <a:gd name="connsiteY151" fmla="*/ 1760175 h 3657590"/>
                <a:gd name="connsiteX152" fmla="*/ 482968 w 1298190"/>
                <a:gd name="connsiteY152" fmla="*/ 1811203 h 3657590"/>
                <a:gd name="connsiteX153" fmla="*/ 488543 w 1298190"/>
                <a:gd name="connsiteY153" fmla="*/ 1812181 h 3657590"/>
                <a:gd name="connsiteX154" fmla="*/ 489800 w 1298190"/>
                <a:gd name="connsiteY154" fmla="*/ 1807990 h 3657590"/>
                <a:gd name="connsiteX155" fmla="*/ 490169 w 1298190"/>
                <a:gd name="connsiteY155" fmla="*/ 1806771 h 3657590"/>
                <a:gd name="connsiteX156" fmla="*/ 531647 w 1298190"/>
                <a:gd name="connsiteY156" fmla="*/ 1733124 h 3657590"/>
                <a:gd name="connsiteX157" fmla="*/ 533526 w 1298190"/>
                <a:gd name="connsiteY157" fmla="*/ 1731409 h 3657590"/>
                <a:gd name="connsiteX158" fmla="*/ 535406 w 1298190"/>
                <a:gd name="connsiteY158" fmla="*/ 1729822 h 3657590"/>
                <a:gd name="connsiteX159" fmla="*/ 537286 w 1298190"/>
                <a:gd name="connsiteY159" fmla="*/ 1728323 h 3657590"/>
                <a:gd name="connsiteX160" fmla="*/ 539178 w 1298190"/>
                <a:gd name="connsiteY160" fmla="*/ 1726952 h 3657590"/>
                <a:gd name="connsiteX161" fmla="*/ 541057 w 1298190"/>
                <a:gd name="connsiteY161" fmla="*/ 1725682 h 3657590"/>
                <a:gd name="connsiteX162" fmla="*/ 542962 w 1298190"/>
                <a:gd name="connsiteY162" fmla="*/ 1724539 h 3657590"/>
                <a:gd name="connsiteX163" fmla="*/ 544855 w 1298190"/>
                <a:gd name="connsiteY163" fmla="*/ 1723497 h 3657590"/>
                <a:gd name="connsiteX164" fmla="*/ 546760 w 1298190"/>
                <a:gd name="connsiteY164" fmla="*/ 1722583 h 3657590"/>
                <a:gd name="connsiteX165" fmla="*/ 548665 w 1298190"/>
                <a:gd name="connsiteY165" fmla="*/ 1721795 h 3657590"/>
                <a:gd name="connsiteX166" fmla="*/ 550582 w 1298190"/>
                <a:gd name="connsiteY166" fmla="*/ 1721135 h 3657590"/>
                <a:gd name="connsiteX167" fmla="*/ 552500 w 1298190"/>
                <a:gd name="connsiteY167" fmla="*/ 1720602 h 3657590"/>
                <a:gd name="connsiteX168" fmla="*/ 554443 w 1298190"/>
                <a:gd name="connsiteY168" fmla="*/ 1720208 h 3657590"/>
                <a:gd name="connsiteX169" fmla="*/ 556374 w 1298190"/>
                <a:gd name="connsiteY169" fmla="*/ 1719967 h 3657590"/>
                <a:gd name="connsiteX170" fmla="*/ 558329 w 1298190"/>
                <a:gd name="connsiteY170" fmla="*/ 1719865 h 3657590"/>
                <a:gd name="connsiteX171" fmla="*/ 558583 w 1298190"/>
                <a:gd name="connsiteY171" fmla="*/ 1719865 h 3657590"/>
                <a:gd name="connsiteX172" fmla="*/ 560298 w 1298190"/>
                <a:gd name="connsiteY172" fmla="*/ 1719929 h 3657590"/>
                <a:gd name="connsiteX173" fmla="*/ 562279 w 1298190"/>
                <a:gd name="connsiteY173" fmla="*/ 1720170 h 3657590"/>
                <a:gd name="connsiteX174" fmla="*/ 564286 w 1298190"/>
                <a:gd name="connsiteY174" fmla="*/ 1720589 h 3657590"/>
                <a:gd name="connsiteX175" fmla="*/ 566318 w 1298190"/>
                <a:gd name="connsiteY175" fmla="*/ 1721186 h 3657590"/>
                <a:gd name="connsiteX176" fmla="*/ 568400 w 1298190"/>
                <a:gd name="connsiteY176" fmla="*/ 1721999 h 3657590"/>
                <a:gd name="connsiteX177" fmla="*/ 570521 w 1298190"/>
                <a:gd name="connsiteY177" fmla="*/ 1723002 h 3657590"/>
                <a:gd name="connsiteX178" fmla="*/ 572706 w 1298190"/>
                <a:gd name="connsiteY178" fmla="*/ 1724247 h 3657590"/>
                <a:gd name="connsiteX179" fmla="*/ 574903 w 1298190"/>
                <a:gd name="connsiteY179" fmla="*/ 1725707 h 3657590"/>
                <a:gd name="connsiteX180" fmla="*/ 618349 w 1298190"/>
                <a:gd name="connsiteY180" fmla="*/ 1813705 h 3657590"/>
                <a:gd name="connsiteX181" fmla="*/ 619378 w 1298190"/>
                <a:gd name="connsiteY181" fmla="*/ 1819255 h 3657590"/>
                <a:gd name="connsiteX182" fmla="*/ 625017 w 1298190"/>
                <a:gd name="connsiteY182" fmla="*/ 1818887 h 3657590"/>
                <a:gd name="connsiteX183" fmla="*/ 785621 w 1298190"/>
                <a:gd name="connsiteY183" fmla="*/ 1785257 h 3657590"/>
                <a:gd name="connsiteX184" fmla="*/ 790942 w 1298190"/>
                <a:gd name="connsiteY184" fmla="*/ 1783327 h 3657590"/>
                <a:gd name="connsiteX185" fmla="*/ 790421 w 1298190"/>
                <a:gd name="connsiteY185" fmla="*/ 1781130 h 3657590"/>
                <a:gd name="connsiteX186" fmla="*/ 789647 w 1298190"/>
                <a:gd name="connsiteY186" fmla="*/ 1777828 h 3657590"/>
                <a:gd name="connsiteX187" fmla="*/ 801927 w 1298190"/>
                <a:gd name="connsiteY187" fmla="*/ 1670742 h 3657590"/>
                <a:gd name="connsiteX188" fmla="*/ 803960 w 1298190"/>
                <a:gd name="connsiteY188" fmla="*/ 1669218 h 3657590"/>
                <a:gd name="connsiteX189" fmla="*/ 805471 w 1298190"/>
                <a:gd name="connsiteY189" fmla="*/ 1668278 h 3657590"/>
                <a:gd name="connsiteX190" fmla="*/ 806080 w 1298190"/>
                <a:gd name="connsiteY190" fmla="*/ 1667935 h 3657590"/>
                <a:gd name="connsiteX191" fmla="*/ 808303 w 1298190"/>
                <a:gd name="connsiteY191" fmla="*/ 1666881 h 3657590"/>
                <a:gd name="connsiteX192" fmla="*/ 810640 w 1298190"/>
                <a:gd name="connsiteY192" fmla="*/ 1666055 h 3657590"/>
                <a:gd name="connsiteX193" fmla="*/ 813078 w 1298190"/>
                <a:gd name="connsiteY193" fmla="*/ 1665446 h 3657590"/>
                <a:gd name="connsiteX194" fmla="*/ 815631 w 1298190"/>
                <a:gd name="connsiteY194" fmla="*/ 1665065 h 3657590"/>
                <a:gd name="connsiteX195" fmla="*/ 818298 w 1298190"/>
                <a:gd name="connsiteY195" fmla="*/ 1664887 h 3657590"/>
                <a:gd name="connsiteX196" fmla="*/ 819225 w 1298190"/>
                <a:gd name="connsiteY196" fmla="*/ 1664874 h 3657590"/>
                <a:gd name="connsiteX197" fmla="*/ 821079 w 1298190"/>
                <a:gd name="connsiteY197" fmla="*/ 1664912 h 3657590"/>
                <a:gd name="connsiteX198" fmla="*/ 823987 w 1298190"/>
                <a:gd name="connsiteY198" fmla="*/ 1665166 h 3657590"/>
                <a:gd name="connsiteX199" fmla="*/ 827010 w 1298190"/>
                <a:gd name="connsiteY199" fmla="*/ 1665623 h 3657590"/>
                <a:gd name="connsiteX200" fmla="*/ 830160 w 1298190"/>
                <a:gd name="connsiteY200" fmla="*/ 1666309 h 3657590"/>
                <a:gd name="connsiteX201" fmla="*/ 833436 w 1298190"/>
                <a:gd name="connsiteY201" fmla="*/ 1667211 h 3657590"/>
                <a:gd name="connsiteX202" fmla="*/ 836840 w 1298190"/>
                <a:gd name="connsiteY202" fmla="*/ 1668341 h 3657590"/>
                <a:gd name="connsiteX203" fmla="*/ 840396 w 1298190"/>
                <a:gd name="connsiteY203" fmla="*/ 1669700 h 3657590"/>
                <a:gd name="connsiteX204" fmla="*/ 844091 w 1298190"/>
                <a:gd name="connsiteY204" fmla="*/ 1671326 h 3657590"/>
                <a:gd name="connsiteX205" fmla="*/ 847965 w 1298190"/>
                <a:gd name="connsiteY205" fmla="*/ 1673205 h 3657590"/>
                <a:gd name="connsiteX206" fmla="*/ 852016 w 1298190"/>
                <a:gd name="connsiteY206" fmla="*/ 1675390 h 3657590"/>
                <a:gd name="connsiteX207" fmla="*/ 856245 w 1298190"/>
                <a:gd name="connsiteY207" fmla="*/ 1677866 h 3657590"/>
                <a:gd name="connsiteX208" fmla="*/ 860728 w 1298190"/>
                <a:gd name="connsiteY208" fmla="*/ 1680711 h 3657590"/>
                <a:gd name="connsiteX209" fmla="*/ 865478 w 1298190"/>
                <a:gd name="connsiteY209" fmla="*/ 1683962 h 3657590"/>
                <a:gd name="connsiteX210" fmla="*/ 870571 w 1298190"/>
                <a:gd name="connsiteY210" fmla="*/ 1687721 h 3657590"/>
                <a:gd name="connsiteX211" fmla="*/ 876108 w 1298190"/>
                <a:gd name="connsiteY211" fmla="*/ 1692103 h 3657590"/>
                <a:gd name="connsiteX212" fmla="*/ 878559 w 1298190"/>
                <a:gd name="connsiteY212" fmla="*/ 1694148 h 3657590"/>
                <a:gd name="connsiteX213" fmla="*/ 902664 w 1298190"/>
                <a:gd name="connsiteY213" fmla="*/ 1717935 h 3657590"/>
                <a:gd name="connsiteX214" fmla="*/ 903108 w 1298190"/>
                <a:gd name="connsiteY214" fmla="*/ 1770627 h 3657590"/>
                <a:gd name="connsiteX215" fmla="*/ 903108 w 1298190"/>
                <a:gd name="connsiteY215" fmla="*/ 1772100 h 3657590"/>
                <a:gd name="connsiteX216" fmla="*/ 903121 w 1298190"/>
                <a:gd name="connsiteY216" fmla="*/ 1772621 h 3657590"/>
                <a:gd name="connsiteX217" fmla="*/ 903121 w 1298190"/>
                <a:gd name="connsiteY217" fmla="*/ 1773230 h 3657590"/>
                <a:gd name="connsiteX218" fmla="*/ 903133 w 1298190"/>
                <a:gd name="connsiteY218" fmla="*/ 1773891 h 3657590"/>
                <a:gd name="connsiteX219" fmla="*/ 903133 w 1298190"/>
                <a:gd name="connsiteY219" fmla="*/ 1774627 h 3657590"/>
                <a:gd name="connsiteX220" fmla="*/ 903146 w 1298190"/>
                <a:gd name="connsiteY220" fmla="*/ 1775440 h 3657590"/>
                <a:gd name="connsiteX221" fmla="*/ 903146 w 1298190"/>
                <a:gd name="connsiteY221" fmla="*/ 1776304 h 3657590"/>
                <a:gd name="connsiteX222" fmla="*/ 903159 w 1298190"/>
                <a:gd name="connsiteY222" fmla="*/ 1777243 h 3657590"/>
                <a:gd name="connsiteX223" fmla="*/ 903159 w 1298190"/>
                <a:gd name="connsiteY223" fmla="*/ 1778247 h 3657590"/>
                <a:gd name="connsiteX224" fmla="*/ 903172 w 1298190"/>
                <a:gd name="connsiteY224" fmla="*/ 1779301 h 3657590"/>
                <a:gd name="connsiteX225" fmla="*/ 903184 w 1298190"/>
                <a:gd name="connsiteY225" fmla="*/ 1780418 h 3657590"/>
                <a:gd name="connsiteX226" fmla="*/ 903197 w 1298190"/>
                <a:gd name="connsiteY226" fmla="*/ 1781600 h 3657590"/>
                <a:gd name="connsiteX227" fmla="*/ 903197 w 1298190"/>
                <a:gd name="connsiteY227" fmla="*/ 1782819 h 3657590"/>
                <a:gd name="connsiteX228" fmla="*/ 903235 w 1298190"/>
                <a:gd name="connsiteY228" fmla="*/ 1786857 h 3657590"/>
                <a:gd name="connsiteX229" fmla="*/ 903299 w 1298190"/>
                <a:gd name="connsiteY229" fmla="*/ 1795062 h 3657590"/>
                <a:gd name="connsiteX230" fmla="*/ 903375 w 1298190"/>
                <a:gd name="connsiteY230" fmla="*/ 1803024 h 3657590"/>
                <a:gd name="connsiteX231" fmla="*/ 903438 w 1298190"/>
                <a:gd name="connsiteY231" fmla="*/ 1810759 h 3657590"/>
                <a:gd name="connsiteX232" fmla="*/ 903502 w 1298190"/>
                <a:gd name="connsiteY232" fmla="*/ 1818265 h 3657590"/>
                <a:gd name="connsiteX233" fmla="*/ 903553 w 1298190"/>
                <a:gd name="connsiteY233" fmla="*/ 1825554 h 3657590"/>
                <a:gd name="connsiteX234" fmla="*/ 903616 w 1298190"/>
                <a:gd name="connsiteY234" fmla="*/ 1832628 h 3657590"/>
                <a:gd name="connsiteX235" fmla="*/ 903629 w 1298190"/>
                <a:gd name="connsiteY235" fmla="*/ 1834558 h 3657590"/>
                <a:gd name="connsiteX236" fmla="*/ 903654 w 1298190"/>
                <a:gd name="connsiteY236" fmla="*/ 1839448 h 3657590"/>
                <a:gd name="connsiteX237" fmla="*/ 903629 w 1298190"/>
                <a:gd name="connsiteY237" fmla="*/ 1846001 h 3657590"/>
                <a:gd name="connsiteX238" fmla="*/ 903514 w 1298190"/>
                <a:gd name="connsiteY238" fmla="*/ 1852262 h 3657590"/>
                <a:gd name="connsiteX239" fmla="*/ 903311 w 1298190"/>
                <a:gd name="connsiteY239" fmla="*/ 1858231 h 3657590"/>
                <a:gd name="connsiteX240" fmla="*/ 903007 w 1298190"/>
                <a:gd name="connsiteY240" fmla="*/ 1863908 h 3657590"/>
                <a:gd name="connsiteX241" fmla="*/ 902587 w 1298190"/>
                <a:gd name="connsiteY241" fmla="*/ 1869267 h 3657590"/>
                <a:gd name="connsiteX242" fmla="*/ 902067 w 1298190"/>
                <a:gd name="connsiteY242" fmla="*/ 1874335 h 3657590"/>
                <a:gd name="connsiteX243" fmla="*/ 901419 w 1298190"/>
                <a:gd name="connsiteY243" fmla="*/ 1879084 h 3657590"/>
                <a:gd name="connsiteX244" fmla="*/ 900657 w 1298190"/>
                <a:gd name="connsiteY244" fmla="*/ 1883530 h 3657590"/>
                <a:gd name="connsiteX245" fmla="*/ 899781 w 1298190"/>
                <a:gd name="connsiteY245" fmla="*/ 1887670 h 3657590"/>
                <a:gd name="connsiteX246" fmla="*/ 898765 w 1298190"/>
                <a:gd name="connsiteY246" fmla="*/ 1891480 h 3657590"/>
                <a:gd name="connsiteX247" fmla="*/ 897622 w 1298190"/>
                <a:gd name="connsiteY247" fmla="*/ 1894959 h 3657590"/>
                <a:gd name="connsiteX248" fmla="*/ 896339 w 1298190"/>
                <a:gd name="connsiteY248" fmla="*/ 1898109 h 3657590"/>
                <a:gd name="connsiteX249" fmla="*/ 894904 w 1298190"/>
                <a:gd name="connsiteY249" fmla="*/ 1900941 h 3657590"/>
                <a:gd name="connsiteX250" fmla="*/ 893253 w 1298190"/>
                <a:gd name="connsiteY250" fmla="*/ 1903456 h 3657590"/>
                <a:gd name="connsiteX251" fmla="*/ 888490 w 1298190"/>
                <a:gd name="connsiteY251" fmla="*/ 1907863 h 3657590"/>
                <a:gd name="connsiteX252" fmla="*/ 879118 w 1298190"/>
                <a:gd name="connsiteY252" fmla="*/ 1910263 h 3657590"/>
                <a:gd name="connsiteX253" fmla="*/ 822806 w 1298190"/>
                <a:gd name="connsiteY253" fmla="*/ 1871922 h 3657590"/>
                <a:gd name="connsiteX254" fmla="*/ 819123 w 1298190"/>
                <a:gd name="connsiteY254" fmla="*/ 1867629 h 3657590"/>
                <a:gd name="connsiteX255" fmla="*/ 814437 w 1298190"/>
                <a:gd name="connsiteY255" fmla="*/ 1870779 h 3657590"/>
                <a:gd name="connsiteX256" fmla="*/ 751306 w 1298190"/>
                <a:gd name="connsiteY256" fmla="*/ 1922430 h 3657590"/>
                <a:gd name="connsiteX257" fmla="*/ 724623 w 1298190"/>
                <a:gd name="connsiteY257" fmla="*/ 1951360 h 3657590"/>
                <a:gd name="connsiteX258" fmla="*/ 720965 w 1298190"/>
                <a:gd name="connsiteY258" fmla="*/ 1955691 h 3657590"/>
                <a:gd name="connsiteX259" fmla="*/ 724851 w 1298190"/>
                <a:gd name="connsiteY259" fmla="*/ 1959806 h 3657590"/>
                <a:gd name="connsiteX260" fmla="*/ 733678 w 1298190"/>
                <a:gd name="connsiteY260" fmla="*/ 1970105 h 3657590"/>
                <a:gd name="connsiteX261" fmla="*/ 738707 w 1298190"/>
                <a:gd name="connsiteY261" fmla="*/ 1976938 h 3657590"/>
                <a:gd name="connsiteX262" fmla="*/ 742733 w 1298190"/>
                <a:gd name="connsiteY262" fmla="*/ 1983034 h 3657590"/>
                <a:gd name="connsiteX263" fmla="*/ 746010 w 1298190"/>
                <a:gd name="connsiteY263" fmla="*/ 1988546 h 3657590"/>
                <a:gd name="connsiteX264" fmla="*/ 748727 w 1298190"/>
                <a:gd name="connsiteY264" fmla="*/ 1993626 h 3657590"/>
                <a:gd name="connsiteX265" fmla="*/ 750975 w 1298190"/>
                <a:gd name="connsiteY265" fmla="*/ 1998363 h 3657590"/>
                <a:gd name="connsiteX266" fmla="*/ 752829 w 1298190"/>
                <a:gd name="connsiteY266" fmla="*/ 2002795 h 3657590"/>
                <a:gd name="connsiteX267" fmla="*/ 754328 w 1298190"/>
                <a:gd name="connsiteY267" fmla="*/ 2006960 h 3657590"/>
                <a:gd name="connsiteX268" fmla="*/ 755484 w 1298190"/>
                <a:gd name="connsiteY268" fmla="*/ 2010872 h 3657590"/>
                <a:gd name="connsiteX269" fmla="*/ 756335 w 1298190"/>
                <a:gd name="connsiteY269" fmla="*/ 2014568 h 3657590"/>
                <a:gd name="connsiteX270" fmla="*/ 756868 w 1298190"/>
                <a:gd name="connsiteY270" fmla="*/ 2018035 h 3657590"/>
                <a:gd name="connsiteX271" fmla="*/ 757122 w 1298190"/>
                <a:gd name="connsiteY271" fmla="*/ 2021286 h 3657590"/>
                <a:gd name="connsiteX272" fmla="*/ 757071 w 1298190"/>
                <a:gd name="connsiteY272" fmla="*/ 2024334 h 3657590"/>
                <a:gd name="connsiteX273" fmla="*/ 756716 w 1298190"/>
                <a:gd name="connsiteY273" fmla="*/ 2027154 h 3657590"/>
                <a:gd name="connsiteX274" fmla="*/ 756055 w 1298190"/>
                <a:gd name="connsiteY274" fmla="*/ 2029770 h 3657590"/>
                <a:gd name="connsiteX275" fmla="*/ 755077 w 1298190"/>
                <a:gd name="connsiteY275" fmla="*/ 2032170 h 3657590"/>
                <a:gd name="connsiteX276" fmla="*/ 754620 w 1298190"/>
                <a:gd name="connsiteY276" fmla="*/ 2033008 h 3657590"/>
                <a:gd name="connsiteX277" fmla="*/ 753744 w 1298190"/>
                <a:gd name="connsiteY277" fmla="*/ 2034354 h 3657590"/>
                <a:gd name="connsiteX278" fmla="*/ 722731 w 1298190"/>
                <a:gd name="connsiteY278" fmla="*/ 2044667 h 3657590"/>
                <a:gd name="connsiteX279" fmla="*/ 675182 w 1298190"/>
                <a:gd name="connsiteY279" fmla="*/ 2035789 h 3657590"/>
                <a:gd name="connsiteX280" fmla="*/ 671486 w 1298190"/>
                <a:gd name="connsiteY280" fmla="*/ 2034481 h 3657590"/>
                <a:gd name="connsiteX281" fmla="*/ 669860 w 1298190"/>
                <a:gd name="connsiteY281" fmla="*/ 2033897 h 3657590"/>
                <a:gd name="connsiteX282" fmla="*/ 667359 w 1298190"/>
                <a:gd name="connsiteY282" fmla="*/ 2038977 h 3657590"/>
                <a:gd name="connsiteX283" fmla="*/ 629830 w 1298190"/>
                <a:gd name="connsiteY283" fmla="*/ 2153709 h 3657590"/>
                <a:gd name="connsiteX284" fmla="*/ 628840 w 1298190"/>
                <a:gd name="connsiteY284" fmla="*/ 2159284 h 3657590"/>
                <a:gd name="connsiteX285" fmla="*/ 634250 w 1298190"/>
                <a:gd name="connsiteY285" fmla="*/ 2160897 h 3657590"/>
                <a:gd name="connsiteX286" fmla="*/ 687780 w 1298190"/>
                <a:gd name="connsiteY286" fmla="*/ 2191275 h 3657590"/>
                <a:gd name="connsiteX287" fmla="*/ 688174 w 1298190"/>
                <a:gd name="connsiteY287" fmla="*/ 2191707 h 3657590"/>
                <a:gd name="connsiteX288" fmla="*/ 690371 w 1298190"/>
                <a:gd name="connsiteY288" fmla="*/ 2194285 h 3657590"/>
                <a:gd name="connsiteX289" fmla="*/ 692162 w 1298190"/>
                <a:gd name="connsiteY289" fmla="*/ 2196736 h 3657590"/>
                <a:gd name="connsiteX290" fmla="*/ 693622 w 1298190"/>
                <a:gd name="connsiteY290" fmla="*/ 2199073 h 3657590"/>
                <a:gd name="connsiteX291" fmla="*/ 694778 w 1298190"/>
                <a:gd name="connsiteY291" fmla="*/ 2201321 h 3657590"/>
                <a:gd name="connsiteX292" fmla="*/ 695654 w 1298190"/>
                <a:gd name="connsiteY292" fmla="*/ 2203505 h 3657590"/>
                <a:gd name="connsiteX293" fmla="*/ 696264 w 1298190"/>
                <a:gd name="connsiteY293" fmla="*/ 2205614 h 3657590"/>
                <a:gd name="connsiteX294" fmla="*/ 696607 w 1298190"/>
                <a:gd name="connsiteY294" fmla="*/ 2207684 h 3657590"/>
                <a:gd name="connsiteX295" fmla="*/ 696696 w 1298190"/>
                <a:gd name="connsiteY295" fmla="*/ 2209436 h 3657590"/>
                <a:gd name="connsiteX296" fmla="*/ 696696 w 1298190"/>
                <a:gd name="connsiteY296" fmla="*/ 2209703 h 3657590"/>
                <a:gd name="connsiteX297" fmla="*/ 696530 w 1298190"/>
                <a:gd name="connsiteY297" fmla="*/ 2211697 h 3657590"/>
                <a:gd name="connsiteX298" fmla="*/ 696111 w 1298190"/>
                <a:gd name="connsiteY298" fmla="*/ 2213665 h 3657590"/>
                <a:gd name="connsiteX299" fmla="*/ 695451 w 1298190"/>
                <a:gd name="connsiteY299" fmla="*/ 2215621 h 3657590"/>
                <a:gd name="connsiteX300" fmla="*/ 694562 w 1298190"/>
                <a:gd name="connsiteY300" fmla="*/ 2217564 h 3657590"/>
                <a:gd name="connsiteX301" fmla="*/ 693444 w 1298190"/>
                <a:gd name="connsiteY301" fmla="*/ 2219482 h 3657590"/>
                <a:gd name="connsiteX302" fmla="*/ 692111 w 1298190"/>
                <a:gd name="connsiteY302" fmla="*/ 2221387 h 3657590"/>
                <a:gd name="connsiteX303" fmla="*/ 690574 w 1298190"/>
                <a:gd name="connsiteY303" fmla="*/ 2223267 h 3657590"/>
                <a:gd name="connsiteX304" fmla="*/ 629360 w 1298190"/>
                <a:gd name="connsiteY304" fmla="*/ 2251524 h 3657590"/>
                <a:gd name="connsiteX305" fmla="*/ 627760 w 1298190"/>
                <a:gd name="connsiteY305" fmla="*/ 2251829 h 3657590"/>
                <a:gd name="connsiteX306" fmla="*/ 623798 w 1298190"/>
                <a:gd name="connsiteY306" fmla="*/ 2252565 h 3657590"/>
                <a:gd name="connsiteX307" fmla="*/ 624166 w 1298190"/>
                <a:gd name="connsiteY307" fmla="*/ 2258191 h 3657590"/>
                <a:gd name="connsiteX308" fmla="*/ 648944 w 1298190"/>
                <a:gd name="connsiteY308" fmla="*/ 2376339 h 3657590"/>
                <a:gd name="connsiteX309" fmla="*/ 650861 w 1298190"/>
                <a:gd name="connsiteY309" fmla="*/ 2381661 h 3657590"/>
                <a:gd name="connsiteX310" fmla="*/ 656373 w 1298190"/>
                <a:gd name="connsiteY310" fmla="*/ 2380352 h 3657590"/>
                <a:gd name="connsiteX311" fmla="*/ 690498 w 1298190"/>
                <a:gd name="connsiteY311" fmla="*/ 2376377 h 3657590"/>
                <a:gd name="connsiteX312" fmla="*/ 734745 w 1298190"/>
                <a:gd name="connsiteY312" fmla="*/ 2391147 h 3657590"/>
                <a:gd name="connsiteX313" fmla="*/ 717282 w 1298190"/>
                <a:gd name="connsiteY313" fmla="*/ 2441160 h 3657590"/>
                <a:gd name="connsiteX314" fmla="*/ 715898 w 1298190"/>
                <a:gd name="connsiteY314" fmla="*/ 2442824 h 3657590"/>
                <a:gd name="connsiteX315" fmla="*/ 715695 w 1298190"/>
                <a:gd name="connsiteY315" fmla="*/ 2443065 h 3657590"/>
                <a:gd name="connsiteX316" fmla="*/ 713980 w 1298190"/>
                <a:gd name="connsiteY316" fmla="*/ 2445046 h 3657590"/>
                <a:gd name="connsiteX317" fmla="*/ 712190 w 1298190"/>
                <a:gd name="connsiteY317" fmla="*/ 2447065 h 3657590"/>
                <a:gd name="connsiteX318" fmla="*/ 710437 w 1298190"/>
                <a:gd name="connsiteY318" fmla="*/ 2448958 h 3657590"/>
                <a:gd name="connsiteX319" fmla="*/ 708646 w 1298190"/>
                <a:gd name="connsiteY319" fmla="*/ 2450837 h 3657590"/>
                <a:gd name="connsiteX320" fmla="*/ 697483 w 1298190"/>
                <a:gd name="connsiteY320" fmla="*/ 2461365 h 3657590"/>
                <a:gd name="connsiteX321" fmla="*/ 697166 w 1298190"/>
                <a:gd name="connsiteY321" fmla="*/ 2461619 h 3657590"/>
                <a:gd name="connsiteX322" fmla="*/ 693190 w 1298190"/>
                <a:gd name="connsiteY322" fmla="*/ 2465023 h 3657590"/>
                <a:gd name="connsiteX323" fmla="*/ 696340 w 1298190"/>
                <a:gd name="connsiteY323" fmla="*/ 2469722 h 3657590"/>
                <a:gd name="connsiteX324" fmla="*/ 776921 w 1298190"/>
                <a:gd name="connsiteY324" fmla="*/ 2559523 h 3657590"/>
                <a:gd name="connsiteX325" fmla="*/ 781252 w 1298190"/>
                <a:gd name="connsiteY325" fmla="*/ 2563168 h 3657590"/>
                <a:gd name="connsiteX326" fmla="*/ 785367 w 1298190"/>
                <a:gd name="connsiteY326" fmla="*/ 2559295 h 3657590"/>
                <a:gd name="connsiteX327" fmla="*/ 847863 w 1298190"/>
                <a:gd name="connsiteY327" fmla="*/ 2526999 h 3657590"/>
                <a:gd name="connsiteX328" fmla="*/ 858557 w 1298190"/>
                <a:gd name="connsiteY328" fmla="*/ 2529514 h 3657590"/>
                <a:gd name="connsiteX329" fmla="*/ 861325 w 1298190"/>
                <a:gd name="connsiteY329" fmla="*/ 2608990 h 3657590"/>
                <a:gd name="connsiteX330" fmla="*/ 859433 w 1298190"/>
                <a:gd name="connsiteY330" fmla="*/ 2614311 h 3657590"/>
                <a:gd name="connsiteX331" fmla="*/ 864500 w 1298190"/>
                <a:gd name="connsiteY331" fmla="*/ 2616813 h 3657590"/>
                <a:gd name="connsiteX332" fmla="*/ 979270 w 1298190"/>
                <a:gd name="connsiteY332" fmla="*/ 2654329 h 3657590"/>
                <a:gd name="connsiteX333" fmla="*/ 984845 w 1298190"/>
                <a:gd name="connsiteY333" fmla="*/ 2655319 h 3657590"/>
                <a:gd name="connsiteX334" fmla="*/ 986090 w 1298190"/>
                <a:gd name="connsiteY334" fmla="*/ 2651128 h 3657590"/>
                <a:gd name="connsiteX335" fmla="*/ 986458 w 1298190"/>
                <a:gd name="connsiteY335" fmla="*/ 2649896 h 3657590"/>
                <a:gd name="connsiteX336" fmla="*/ 1017078 w 1298190"/>
                <a:gd name="connsiteY336" fmla="*/ 2596125 h 3657590"/>
                <a:gd name="connsiteX337" fmla="*/ 1018957 w 1298190"/>
                <a:gd name="connsiteY337" fmla="*/ 2594487 h 3657590"/>
                <a:gd name="connsiteX338" fmla="*/ 1020837 w 1298190"/>
                <a:gd name="connsiteY338" fmla="*/ 2593013 h 3657590"/>
                <a:gd name="connsiteX339" fmla="*/ 1022704 w 1298190"/>
                <a:gd name="connsiteY339" fmla="*/ 2591693 h 3657590"/>
                <a:gd name="connsiteX340" fmla="*/ 1024583 w 1298190"/>
                <a:gd name="connsiteY340" fmla="*/ 2590537 h 3657590"/>
                <a:gd name="connsiteX341" fmla="*/ 1026450 w 1298190"/>
                <a:gd name="connsiteY341" fmla="*/ 2589559 h 3657590"/>
                <a:gd name="connsiteX342" fmla="*/ 1028330 w 1298190"/>
                <a:gd name="connsiteY342" fmla="*/ 2588746 h 3657590"/>
                <a:gd name="connsiteX343" fmla="*/ 1030209 w 1298190"/>
                <a:gd name="connsiteY343" fmla="*/ 2588124 h 3657590"/>
                <a:gd name="connsiteX344" fmla="*/ 1032102 w 1298190"/>
                <a:gd name="connsiteY344" fmla="*/ 2587692 h 3657590"/>
                <a:gd name="connsiteX345" fmla="*/ 1033994 w 1298190"/>
                <a:gd name="connsiteY345" fmla="*/ 2587463 h 3657590"/>
                <a:gd name="connsiteX346" fmla="*/ 1034972 w 1298190"/>
                <a:gd name="connsiteY346" fmla="*/ 2587438 h 3657590"/>
                <a:gd name="connsiteX347" fmla="*/ 1035899 w 1298190"/>
                <a:gd name="connsiteY347" fmla="*/ 2587463 h 3657590"/>
                <a:gd name="connsiteX348" fmla="*/ 1037829 w 1298190"/>
                <a:gd name="connsiteY348" fmla="*/ 2587705 h 3657590"/>
                <a:gd name="connsiteX349" fmla="*/ 1039798 w 1298190"/>
                <a:gd name="connsiteY349" fmla="*/ 2588200 h 3657590"/>
                <a:gd name="connsiteX350" fmla="*/ 1041804 w 1298190"/>
                <a:gd name="connsiteY350" fmla="*/ 2588962 h 3657590"/>
                <a:gd name="connsiteX351" fmla="*/ 1043887 w 1298190"/>
                <a:gd name="connsiteY351" fmla="*/ 2590004 h 3657590"/>
                <a:gd name="connsiteX352" fmla="*/ 1046046 w 1298190"/>
                <a:gd name="connsiteY352" fmla="*/ 2591388 h 3657590"/>
                <a:gd name="connsiteX353" fmla="*/ 1077085 w 1298190"/>
                <a:gd name="connsiteY353" fmla="*/ 2654811 h 3657590"/>
                <a:gd name="connsiteX354" fmla="*/ 1078126 w 1298190"/>
                <a:gd name="connsiteY354" fmla="*/ 2660361 h 3657590"/>
                <a:gd name="connsiteX355" fmla="*/ 1083752 w 1298190"/>
                <a:gd name="connsiteY355" fmla="*/ 2659993 h 3657590"/>
                <a:gd name="connsiteX356" fmla="*/ 1201900 w 1298190"/>
                <a:gd name="connsiteY356" fmla="*/ 2635253 h 3657590"/>
                <a:gd name="connsiteX357" fmla="*/ 1207222 w 1298190"/>
                <a:gd name="connsiteY357" fmla="*/ 2633323 h 3657590"/>
                <a:gd name="connsiteX358" fmla="*/ 1206701 w 1298190"/>
                <a:gd name="connsiteY358" fmla="*/ 2631113 h 3657590"/>
                <a:gd name="connsiteX359" fmla="*/ 1205913 w 1298190"/>
                <a:gd name="connsiteY359" fmla="*/ 2627811 h 3657590"/>
                <a:gd name="connsiteX360" fmla="*/ 1215045 w 1298190"/>
                <a:gd name="connsiteY360" fmla="*/ 2550507 h 3657590"/>
                <a:gd name="connsiteX361" fmla="*/ 1216709 w 1298190"/>
                <a:gd name="connsiteY361" fmla="*/ 2549414 h 3657590"/>
                <a:gd name="connsiteX362" fmla="*/ 1217127 w 1298190"/>
                <a:gd name="connsiteY362" fmla="*/ 2549173 h 3657590"/>
                <a:gd name="connsiteX363" fmla="*/ 1219350 w 1298190"/>
                <a:gd name="connsiteY363" fmla="*/ 2548195 h 3657590"/>
                <a:gd name="connsiteX364" fmla="*/ 1221738 w 1298190"/>
                <a:gd name="connsiteY364" fmla="*/ 2547560 h 3657590"/>
                <a:gd name="connsiteX365" fmla="*/ 1224290 w 1298190"/>
                <a:gd name="connsiteY365" fmla="*/ 2547230 h 3657590"/>
                <a:gd name="connsiteX366" fmla="*/ 1225827 w 1298190"/>
                <a:gd name="connsiteY366" fmla="*/ 2547179 h 3657590"/>
                <a:gd name="connsiteX367" fmla="*/ 1227008 w 1298190"/>
                <a:gd name="connsiteY367" fmla="*/ 2547204 h 3657590"/>
                <a:gd name="connsiteX368" fmla="*/ 1229891 w 1298190"/>
                <a:gd name="connsiteY368" fmla="*/ 2547484 h 3657590"/>
                <a:gd name="connsiteX369" fmla="*/ 1232952 w 1298190"/>
                <a:gd name="connsiteY369" fmla="*/ 2548068 h 3657590"/>
                <a:gd name="connsiteX370" fmla="*/ 1236177 w 1298190"/>
                <a:gd name="connsiteY370" fmla="*/ 2548957 h 3657590"/>
                <a:gd name="connsiteX371" fmla="*/ 1239606 w 1298190"/>
                <a:gd name="connsiteY371" fmla="*/ 2550164 h 3657590"/>
                <a:gd name="connsiteX372" fmla="*/ 1243213 w 1298190"/>
                <a:gd name="connsiteY372" fmla="*/ 2551700 h 3657590"/>
                <a:gd name="connsiteX373" fmla="*/ 1247061 w 1298190"/>
                <a:gd name="connsiteY373" fmla="*/ 2553593 h 3657590"/>
                <a:gd name="connsiteX374" fmla="*/ 1251151 w 1298190"/>
                <a:gd name="connsiteY374" fmla="*/ 2555891 h 3657590"/>
                <a:gd name="connsiteX375" fmla="*/ 1255520 w 1298190"/>
                <a:gd name="connsiteY375" fmla="*/ 2558635 h 3657590"/>
                <a:gd name="connsiteX376" fmla="*/ 1260282 w 1298190"/>
                <a:gd name="connsiteY376" fmla="*/ 2561937 h 3657590"/>
                <a:gd name="connsiteX377" fmla="*/ 1265540 w 1298190"/>
                <a:gd name="connsiteY377" fmla="*/ 2565962 h 3657590"/>
                <a:gd name="connsiteX378" fmla="*/ 1270163 w 1298190"/>
                <a:gd name="connsiteY378" fmla="*/ 2569836 h 3657590"/>
                <a:gd name="connsiteX379" fmla="*/ 1285364 w 1298190"/>
                <a:gd name="connsiteY379" fmla="*/ 2584949 h 3657590"/>
                <a:gd name="connsiteX380" fmla="*/ 1285364 w 1298190"/>
                <a:gd name="connsiteY380" fmla="*/ 3657639 h 3657590"/>
                <a:gd name="connsiteX381" fmla="*/ 1298064 w 1298190"/>
                <a:gd name="connsiteY381" fmla="*/ 3657639 h 3657590"/>
                <a:gd name="connsiteX382" fmla="*/ 1298064 w 1298190"/>
                <a:gd name="connsiteY382" fmla="*/ 2580237 h 3657590"/>
                <a:gd name="connsiteX383" fmla="*/ 1296540 w 1298190"/>
                <a:gd name="connsiteY383" fmla="*/ 2578459 h 3657590"/>
                <a:gd name="connsiteX384" fmla="*/ 1225878 w 1298190"/>
                <a:gd name="connsiteY384" fmla="*/ 2534403 h 3657590"/>
                <a:gd name="connsiteX385" fmla="*/ 1210359 w 1298190"/>
                <a:gd name="connsiteY385" fmla="*/ 2538404 h 3657590"/>
                <a:gd name="connsiteX386" fmla="*/ 1206041 w 1298190"/>
                <a:gd name="connsiteY386" fmla="*/ 2541451 h 3657590"/>
                <a:gd name="connsiteX387" fmla="*/ 1203056 w 1298190"/>
                <a:gd name="connsiteY387" fmla="*/ 2544309 h 3657590"/>
                <a:gd name="connsiteX388" fmla="*/ 1200122 w 1298190"/>
                <a:gd name="connsiteY388" fmla="*/ 2547979 h 3657590"/>
                <a:gd name="connsiteX389" fmla="*/ 1197887 w 1298190"/>
                <a:gd name="connsiteY389" fmla="*/ 2551561 h 3657590"/>
                <a:gd name="connsiteX390" fmla="*/ 1196096 w 1298190"/>
                <a:gd name="connsiteY390" fmla="*/ 2555079 h 3657590"/>
                <a:gd name="connsiteX391" fmla="*/ 1194649 w 1298190"/>
                <a:gd name="connsiteY391" fmla="*/ 2558546 h 3657590"/>
                <a:gd name="connsiteX392" fmla="*/ 1193455 w 1298190"/>
                <a:gd name="connsiteY392" fmla="*/ 2561962 h 3657590"/>
                <a:gd name="connsiteX393" fmla="*/ 1192477 w 1298190"/>
                <a:gd name="connsiteY393" fmla="*/ 2565327 h 3657590"/>
                <a:gd name="connsiteX394" fmla="*/ 1191677 w 1298190"/>
                <a:gd name="connsiteY394" fmla="*/ 2568667 h 3657590"/>
                <a:gd name="connsiteX395" fmla="*/ 1191016 w 1298190"/>
                <a:gd name="connsiteY395" fmla="*/ 2571944 h 3657590"/>
                <a:gd name="connsiteX396" fmla="*/ 1190496 w 1298190"/>
                <a:gd name="connsiteY396" fmla="*/ 2575183 h 3657590"/>
                <a:gd name="connsiteX397" fmla="*/ 1190077 w 1298190"/>
                <a:gd name="connsiteY397" fmla="*/ 2578370 h 3657590"/>
                <a:gd name="connsiteX398" fmla="*/ 1189746 w 1298190"/>
                <a:gd name="connsiteY398" fmla="*/ 2581520 h 3657590"/>
                <a:gd name="connsiteX399" fmla="*/ 1189518 w 1298190"/>
                <a:gd name="connsiteY399" fmla="*/ 2584631 h 3657590"/>
                <a:gd name="connsiteX400" fmla="*/ 1189353 w 1298190"/>
                <a:gd name="connsiteY400" fmla="*/ 2587679 h 3657590"/>
                <a:gd name="connsiteX401" fmla="*/ 1189264 w 1298190"/>
                <a:gd name="connsiteY401" fmla="*/ 2590689 h 3657590"/>
                <a:gd name="connsiteX402" fmla="*/ 1189238 w 1298190"/>
                <a:gd name="connsiteY402" fmla="*/ 2593648 h 3657590"/>
                <a:gd name="connsiteX403" fmla="*/ 1189277 w 1298190"/>
                <a:gd name="connsiteY403" fmla="*/ 2596569 h 3657590"/>
                <a:gd name="connsiteX404" fmla="*/ 1189365 w 1298190"/>
                <a:gd name="connsiteY404" fmla="*/ 2599427 h 3657590"/>
                <a:gd name="connsiteX405" fmla="*/ 1189492 w 1298190"/>
                <a:gd name="connsiteY405" fmla="*/ 2602234 h 3657590"/>
                <a:gd name="connsiteX406" fmla="*/ 1189670 w 1298190"/>
                <a:gd name="connsiteY406" fmla="*/ 2605002 h 3657590"/>
                <a:gd name="connsiteX407" fmla="*/ 1189886 w 1298190"/>
                <a:gd name="connsiteY407" fmla="*/ 2607707 h 3657590"/>
                <a:gd name="connsiteX408" fmla="*/ 1190140 w 1298190"/>
                <a:gd name="connsiteY408" fmla="*/ 2610374 h 3657590"/>
                <a:gd name="connsiteX409" fmla="*/ 1190432 w 1298190"/>
                <a:gd name="connsiteY409" fmla="*/ 2612978 h 3657590"/>
                <a:gd name="connsiteX410" fmla="*/ 1190762 w 1298190"/>
                <a:gd name="connsiteY410" fmla="*/ 2615518 h 3657590"/>
                <a:gd name="connsiteX411" fmla="*/ 1191118 w 1298190"/>
                <a:gd name="connsiteY411" fmla="*/ 2618007 h 3657590"/>
                <a:gd name="connsiteX412" fmla="*/ 1191499 w 1298190"/>
                <a:gd name="connsiteY412" fmla="*/ 2620458 h 3657590"/>
                <a:gd name="connsiteX413" fmla="*/ 1191905 w 1298190"/>
                <a:gd name="connsiteY413" fmla="*/ 2622846 h 3657590"/>
                <a:gd name="connsiteX414" fmla="*/ 1192350 w 1298190"/>
                <a:gd name="connsiteY414" fmla="*/ 2625157 h 3657590"/>
                <a:gd name="connsiteX415" fmla="*/ 1088426 w 1298190"/>
                <a:gd name="connsiteY415" fmla="*/ 2646912 h 3657590"/>
                <a:gd name="connsiteX416" fmla="*/ 1034972 w 1298190"/>
                <a:gd name="connsiteY416" fmla="*/ 2574738 h 3657590"/>
                <a:gd name="connsiteX417" fmla="*/ 1008099 w 1298190"/>
                <a:gd name="connsiteY417" fmla="*/ 2587121 h 3657590"/>
                <a:gd name="connsiteX418" fmla="*/ 1006930 w 1298190"/>
                <a:gd name="connsiteY418" fmla="*/ 2588226 h 3657590"/>
                <a:gd name="connsiteX419" fmla="*/ 1003298 w 1298190"/>
                <a:gd name="connsiteY419" fmla="*/ 2592010 h 3657590"/>
                <a:gd name="connsiteX420" fmla="*/ 1000009 w 1298190"/>
                <a:gd name="connsiteY420" fmla="*/ 2595871 h 3657590"/>
                <a:gd name="connsiteX421" fmla="*/ 996986 w 1298190"/>
                <a:gd name="connsiteY421" fmla="*/ 2599795 h 3657590"/>
                <a:gd name="connsiteX422" fmla="*/ 994192 w 1298190"/>
                <a:gd name="connsiteY422" fmla="*/ 2603770 h 3657590"/>
                <a:gd name="connsiteX423" fmla="*/ 991601 w 1298190"/>
                <a:gd name="connsiteY423" fmla="*/ 2607796 h 3657590"/>
                <a:gd name="connsiteX424" fmla="*/ 989176 w 1298190"/>
                <a:gd name="connsiteY424" fmla="*/ 2611847 h 3657590"/>
                <a:gd name="connsiteX425" fmla="*/ 986903 w 1298190"/>
                <a:gd name="connsiteY425" fmla="*/ 2615924 h 3657590"/>
                <a:gd name="connsiteX426" fmla="*/ 984782 w 1298190"/>
                <a:gd name="connsiteY426" fmla="*/ 2620026 h 3657590"/>
                <a:gd name="connsiteX427" fmla="*/ 982775 w 1298190"/>
                <a:gd name="connsiteY427" fmla="*/ 2624154 h 3657590"/>
                <a:gd name="connsiteX428" fmla="*/ 980908 w 1298190"/>
                <a:gd name="connsiteY428" fmla="*/ 2628307 h 3657590"/>
                <a:gd name="connsiteX429" fmla="*/ 979168 w 1298190"/>
                <a:gd name="connsiteY429" fmla="*/ 2632459 h 3657590"/>
                <a:gd name="connsiteX430" fmla="*/ 977530 w 1298190"/>
                <a:gd name="connsiteY430" fmla="*/ 2636650 h 3657590"/>
                <a:gd name="connsiteX431" fmla="*/ 976031 w 1298190"/>
                <a:gd name="connsiteY431" fmla="*/ 2640829 h 3657590"/>
                <a:gd name="connsiteX432" fmla="*/ 875092 w 1298190"/>
                <a:gd name="connsiteY432" fmla="*/ 2607822 h 3657590"/>
                <a:gd name="connsiteX433" fmla="*/ 864907 w 1298190"/>
                <a:gd name="connsiteY433" fmla="*/ 2518515 h 3657590"/>
                <a:gd name="connsiteX434" fmla="*/ 847876 w 1298190"/>
                <a:gd name="connsiteY434" fmla="*/ 2514299 h 3657590"/>
                <a:gd name="connsiteX435" fmla="*/ 780884 w 1298190"/>
                <a:gd name="connsiteY435" fmla="*/ 2546214 h 3657590"/>
                <a:gd name="connsiteX436" fmla="*/ 709992 w 1298190"/>
                <a:gd name="connsiteY436" fmla="*/ 2467220 h 3657590"/>
                <a:gd name="connsiteX437" fmla="*/ 713815 w 1298190"/>
                <a:gd name="connsiteY437" fmla="*/ 2463575 h 3657590"/>
                <a:gd name="connsiteX438" fmla="*/ 716952 w 1298190"/>
                <a:gd name="connsiteY438" fmla="*/ 2460426 h 3657590"/>
                <a:gd name="connsiteX439" fmla="*/ 745755 w 1298190"/>
                <a:gd name="connsiteY439" fmla="*/ 2384797 h 3657590"/>
                <a:gd name="connsiteX440" fmla="*/ 690752 w 1298190"/>
                <a:gd name="connsiteY440" fmla="*/ 2363690 h 3657590"/>
                <a:gd name="connsiteX441" fmla="*/ 659027 w 1298190"/>
                <a:gd name="connsiteY441" fmla="*/ 2366789 h 3657590"/>
                <a:gd name="connsiteX442" fmla="*/ 637247 w 1298190"/>
                <a:gd name="connsiteY442" fmla="*/ 2262878 h 3657590"/>
                <a:gd name="connsiteX443" fmla="*/ 641235 w 1298190"/>
                <a:gd name="connsiteY443" fmla="*/ 2261925 h 3657590"/>
                <a:gd name="connsiteX444" fmla="*/ 645235 w 1298190"/>
                <a:gd name="connsiteY444" fmla="*/ 2260884 h 3657590"/>
                <a:gd name="connsiteX445" fmla="*/ 649223 w 1298190"/>
                <a:gd name="connsiteY445" fmla="*/ 2259728 h 3657590"/>
                <a:gd name="connsiteX446" fmla="*/ 653236 w 1298190"/>
                <a:gd name="connsiteY446" fmla="*/ 2258484 h 3657590"/>
                <a:gd name="connsiteX447" fmla="*/ 657249 w 1298190"/>
                <a:gd name="connsiteY447" fmla="*/ 2257137 h 3657590"/>
                <a:gd name="connsiteX448" fmla="*/ 661263 w 1298190"/>
                <a:gd name="connsiteY448" fmla="*/ 2255677 h 3657590"/>
                <a:gd name="connsiteX449" fmla="*/ 665276 w 1298190"/>
                <a:gd name="connsiteY449" fmla="*/ 2254102 h 3657590"/>
                <a:gd name="connsiteX450" fmla="*/ 669289 w 1298190"/>
                <a:gd name="connsiteY450" fmla="*/ 2252413 h 3657590"/>
                <a:gd name="connsiteX451" fmla="*/ 673290 w 1298190"/>
                <a:gd name="connsiteY451" fmla="*/ 2250571 h 3657590"/>
                <a:gd name="connsiteX452" fmla="*/ 677265 w 1298190"/>
                <a:gd name="connsiteY452" fmla="*/ 2248590 h 3657590"/>
                <a:gd name="connsiteX453" fmla="*/ 681240 w 1298190"/>
                <a:gd name="connsiteY453" fmla="*/ 2246419 h 3657590"/>
                <a:gd name="connsiteX454" fmla="*/ 685202 w 1298190"/>
                <a:gd name="connsiteY454" fmla="*/ 2244044 h 3657590"/>
                <a:gd name="connsiteX455" fmla="*/ 689114 w 1298190"/>
                <a:gd name="connsiteY455" fmla="*/ 2241427 h 3657590"/>
                <a:gd name="connsiteX456" fmla="*/ 692987 w 1298190"/>
                <a:gd name="connsiteY456" fmla="*/ 2238494 h 3657590"/>
                <a:gd name="connsiteX457" fmla="*/ 696797 w 1298190"/>
                <a:gd name="connsiteY457" fmla="*/ 2235166 h 3657590"/>
                <a:gd name="connsiteX458" fmla="*/ 699731 w 1298190"/>
                <a:gd name="connsiteY458" fmla="*/ 2232169 h 3657590"/>
                <a:gd name="connsiteX459" fmla="*/ 709396 w 1298190"/>
                <a:gd name="connsiteY459" fmla="*/ 2209436 h 3657590"/>
                <a:gd name="connsiteX460" fmla="*/ 643318 w 1298190"/>
                <a:gd name="connsiteY460" fmla="*/ 2150470 h 3657590"/>
                <a:gd name="connsiteX461" fmla="*/ 676350 w 1298190"/>
                <a:gd name="connsiteY461" fmla="*/ 2049556 h 3657590"/>
                <a:gd name="connsiteX462" fmla="*/ 678077 w 1298190"/>
                <a:gd name="connsiteY462" fmla="*/ 2050090 h 3657590"/>
                <a:gd name="connsiteX463" fmla="*/ 679894 w 1298190"/>
                <a:gd name="connsiteY463" fmla="*/ 2050623 h 3657590"/>
                <a:gd name="connsiteX464" fmla="*/ 681748 w 1298190"/>
                <a:gd name="connsiteY464" fmla="*/ 2051156 h 3657590"/>
                <a:gd name="connsiteX465" fmla="*/ 683665 w 1298190"/>
                <a:gd name="connsiteY465" fmla="*/ 2051677 h 3657590"/>
                <a:gd name="connsiteX466" fmla="*/ 685659 w 1298190"/>
                <a:gd name="connsiteY466" fmla="*/ 2052185 h 3657590"/>
                <a:gd name="connsiteX467" fmla="*/ 687691 w 1298190"/>
                <a:gd name="connsiteY467" fmla="*/ 2052693 h 3657590"/>
                <a:gd name="connsiteX468" fmla="*/ 689787 w 1298190"/>
                <a:gd name="connsiteY468" fmla="*/ 2053188 h 3657590"/>
                <a:gd name="connsiteX469" fmla="*/ 691946 w 1298190"/>
                <a:gd name="connsiteY469" fmla="*/ 2053671 h 3657590"/>
                <a:gd name="connsiteX470" fmla="*/ 694156 w 1298190"/>
                <a:gd name="connsiteY470" fmla="*/ 2054141 h 3657590"/>
                <a:gd name="connsiteX471" fmla="*/ 696429 w 1298190"/>
                <a:gd name="connsiteY471" fmla="*/ 2054585 h 3657590"/>
                <a:gd name="connsiteX472" fmla="*/ 698753 w 1298190"/>
                <a:gd name="connsiteY472" fmla="*/ 2055017 h 3657590"/>
                <a:gd name="connsiteX473" fmla="*/ 701140 w 1298190"/>
                <a:gd name="connsiteY473" fmla="*/ 2055424 h 3657590"/>
                <a:gd name="connsiteX474" fmla="*/ 703592 w 1298190"/>
                <a:gd name="connsiteY474" fmla="*/ 2055805 h 3657590"/>
                <a:gd name="connsiteX475" fmla="*/ 706081 w 1298190"/>
                <a:gd name="connsiteY475" fmla="*/ 2056147 h 3657590"/>
                <a:gd name="connsiteX476" fmla="*/ 708646 w 1298190"/>
                <a:gd name="connsiteY476" fmla="*/ 2056465 h 3657590"/>
                <a:gd name="connsiteX477" fmla="*/ 711250 w 1298190"/>
                <a:gd name="connsiteY477" fmla="*/ 2056732 h 3657590"/>
                <a:gd name="connsiteX478" fmla="*/ 713917 w 1298190"/>
                <a:gd name="connsiteY478" fmla="*/ 2056960 h 3657590"/>
                <a:gd name="connsiteX479" fmla="*/ 716634 w 1298190"/>
                <a:gd name="connsiteY479" fmla="*/ 2057151 h 3657590"/>
                <a:gd name="connsiteX480" fmla="*/ 719416 w 1298190"/>
                <a:gd name="connsiteY480" fmla="*/ 2057265 h 3657590"/>
                <a:gd name="connsiteX481" fmla="*/ 722248 w 1298190"/>
                <a:gd name="connsiteY481" fmla="*/ 2057329 h 3657590"/>
                <a:gd name="connsiteX482" fmla="*/ 723188 w 1298190"/>
                <a:gd name="connsiteY482" fmla="*/ 2057329 h 3657590"/>
                <a:gd name="connsiteX483" fmla="*/ 725131 w 1298190"/>
                <a:gd name="connsiteY483" fmla="*/ 2057316 h 3657590"/>
                <a:gd name="connsiteX484" fmla="*/ 728077 w 1298190"/>
                <a:gd name="connsiteY484" fmla="*/ 2057214 h 3657590"/>
                <a:gd name="connsiteX485" fmla="*/ 731062 w 1298190"/>
                <a:gd name="connsiteY485" fmla="*/ 2057024 h 3657590"/>
                <a:gd name="connsiteX486" fmla="*/ 734122 w 1298190"/>
                <a:gd name="connsiteY486" fmla="*/ 2056719 h 3657590"/>
                <a:gd name="connsiteX487" fmla="*/ 737221 w 1298190"/>
                <a:gd name="connsiteY487" fmla="*/ 2056287 h 3657590"/>
                <a:gd name="connsiteX488" fmla="*/ 745197 w 1298190"/>
                <a:gd name="connsiteY488" fmla="*/ 2054446 h 3657590"/>
                <a:gd name="connsiteX489" fmla="*/ 751902 w 1298190"/>
                <a:gd name="connsiteY489" fmla="*/ 2051817 h 3657590"/>
                <a:gd name="connsiteX490" fmla="*/ 757160 w 1298190"/>
                <a:gd name="connsiteY490" fmla="*/ 2048680 h 3657590"/>
                <a:gd name="connsiteX491" fmla="*/ 761300 w 1298190"/>
                <a:gd name="connsiteY491" fmla="*/ 2045086 h 3657590"/>
                <a:gd name="connsiteX492" fmla="*/ 762710 w 1298190"/>
                <a:gd name="connsiteY492" fmla="*/ 2043524 h 3657590"/>
                <a:gd name="connsiteX493" fmla="*/ 765618 w 1298190"/>
                <a:gd name="connsiteY493" fmla="*/ 2039358 h 3657590"/>
                <a:gd name="connsiteX494" fmla="*/ 737920 w 1298190"/>
                <a:gd name="connsiteY494" fmla="*/ 1955322 h 3657590"/>
                <a:gd name="connsiteX495" fmla="*/ 760576 w 1298190"/>
                <a:gd name="connsiteY495" fmla="*/ 1931116 h 3657590"/>
                <a:gd name="connsiteX496" fmla="*/ 762456 w 1298190"/>
                <a:gd name="connsiteY496" fmla="*/ 1929287 h 3657590"/>
                <a:gd name="connsiteX497" fmla="*/ 764348 w 1298190"/>
                <a:gd name="connsiteY497" fmla="*/ 1927446 h 3657590"/>
                <a:gd name="connsiteX498" fmla="*/ 766253 w 1298190"/>
                <a:gd name="connsiteY498" fmla="*/ 1925617 h 3657590"/>
                <a:gd name="connsiteX499" fmla="*/ 768196 w 1298190"/>
                <a:gd name="connsiteY499" fmla="*/ 1923788 h 3657590"/>
                <a:gd name="connsiteX500" fmla="*/ 770114 w 1298190"/>
                <a:gd name="connsiteY500" fmla="*/ 1921998 h 3657590"/>
                <a:gd name="connsiteX501" fmla="*/ 772070 w 1298190"/>
                <a:gd name="connsiteY501" fmla="*/ 1920194 h 3657590"/>
                <a:gd name="connsiteX502" fmla="*/ 774051 w 1298190"/>
                <a:gd name="connsiteY502" fmla="*/ 1918391 h 3657590"/>
                <a:gd name="connsiteX503" fmla="*/ 776020 w 1298190"/>
                <a:gd name="connsiteY503" fmla="*/ 1916638 h 3657590"/>
                <a:gd name="connsiteX504" fmla="*/ 778026 w 1298190"/>
                <a:gd name="connsiteY504" fmla="*/ 1914848 h 3657590"/>
                <a:gd name="connsiteX505" fmla="*/ 780007 w 1298190"/>
                <a:gd name="connsiteY505" fmla="*/ 1913121 h 3657590"/>
                <a:gd name="connsiteX506" fmla="*/ 783106 w 1298190"/>
                <a:gd name="connsiteY506" fmla="*/ 1910453 h 3657590"/>
                <a:gd name="connsiteX507" fmla="*/ 787157 w 1298190"/>
                <a:gd name="connsiteY507" fmla="*/ 1907037 h 3657590"/>
                <a:gd name="connsiteX508" fmla="*/ 791247 w 1298190"/>
                <a:gd name="connsiteY508" fmla="*/ 1903684 h 3657590"/>
                <a:gd name="connsiteX509" fmla="*/ 795374 w 1298190"/>
                <a:gd name="connsiteY509" fmla="*/ 1900382 h 3657590"/>
                <a:gd name="connsiteX510" fmla="*/ 799553 w 1298190"/>
                <a:gd name="connsiteY510" fmla="*/ 1897131 h 3657590"/>
                <a:gd name="connsiteX511" fmla="*/ 803769 w 1298190"/>
                <a:gd name="connsiteY511" fmla="*/ 1893918 h 3657590"/>
                <a:gd name="connsiteX512" fmla="*/ 808023 w 1298190"/>
                <a:gd name="connsiteY512" fmla="*/ 1890769 h 3657590"/>
                <a:gd name="connsiteX513" fmla="*/ 812316 w 1298190"/>
                <a:gd name="connsiteY513" fmla="*/ 1887682 h 3657590"/>
                <a:gd name="connsiteX514" fmla="*/ 816659 w 1298190"/>
                <a:gd name="connsiteY514" fmla="*/ 1884635 h 3657590"/>
                <a:gd name="connsiteX515" fmla="*/ 816926 w 1298190"/>
                <a:gd name="connsiteY515" fmla="*/ 1884457 h 3657590"/>
                <a:gd name="connsiteX516" fmla="*/ 835024 w 1298190"/>
                <a:gd name="connsiteY516" fmla="*/ 1902008 h 3657590"/>
                <a:gd name="connsiteX517" fmla="*/ 844638 w 1298190"/>
                <a:gd name="connsiteY517" fmla="*/ 1909476 h 3657590"/>
                <a:gd name="connsiteX518" fmla="*/ 851864 w 1298190"/>
                <a:gd name="connsiteY518" fmla="*/ 1914162 h 3657590"/>
                <a:gd name="connsiteX519" fmla="*/ 857807 w 1298190"/>
                <a:gd name="connsiteY519" fmla="*/ 1917362 h 3657590"/>
                <a:gd name="connsiteX520" fmla="*/ 862875 w 1298190"/>
                <a:gd name="connsiteY520" fmla="*/ 1919585 h 3657590"/>
                <a:gd name="connsiteX521" fmla="*/ 867294 w 1298190"/>
                <a:gd name="connsiteY521" fmla="*/ 1921109 h 3657590"/>
                <a:gd name="connsiteX522" fmla="*/ 871168 w 1298190"/>
                <a:gd name="connsiteY522" fmla="*/ 1922099 h 3657590"/>
                <a:gd name="connsiteX523" fmla="*/ 874571 w 1298190"/>
                <a:gd name="connsiteY523" fmla="*/ 1922684 h 3657590"/>
                <a:gd name="connsiteX524" fmla="*/ 877543 w 1298190"/>
                <a:gd name="connsiteY524" fmla="*/ 1922938 h 3657590"/>
                <a:gd name="connsiteX525" fmla="*/ 879245 w 1298190"/>
                <a:gd name="connsiteY525" fmla="*/ 1922976 h 3657590"/>
                <a:gd name="connsiteX526" fmla="*/ 880058 w 1298190"/>
                <a:gd name="connsiteY526" fmla="*/ 1922976 h 3657590"/>
                <a:gd name="connsiteX527" fmla="*/ 882052 w 1298190"/>
                <a:gd name="connsiteY527" fmla="*/ 1922861 h 3657590"/>
                <a:gd name="connsiteX528" fmla="*/ 883385 w 1298190"/>
                <a:gd name="connsiteY528" fmla="*/ 1922722 h 3657590"/>
                <a:gd name="connsiteX529" fmla="*/ 883652 w 1298190"/>
                <a:gd name="connsiteY529" fmla="*/ 1922684 h 3657590"/>
                <a:gd name="connsiteX530" fmla="*/ 894840 w 1298190"/>
                <a:gd name="connsiteY530" fmla="*/ 1918861 h 3657590"/>
                <a:gd name="connsiteX531" fmla="*/ 902067 w 1298190"/>
                <a:gd name="connsiteY531" fmla="*/ 1912689 h 3657590"/>
                <a:gd name="connsiteX532" fmla="*/ 916329 w 1298190"/>
                <a:gd name="connsiteY532" fmla="*/ 1834508 h 3657590"/>
                <a:gd name="connsiteX533" fmla="*/ 915326 w 1298190"/>
                <a:gd name="connsiteY533" fmla="*/ 1713185 h 3657590"/>
                <a:gd name="connsiteX534" fmla="*/ 913814 w 1298190"/>
                <a:gd name="connsiteY534" fmla="*/ 1711432 h 3657590"/>
                <a:gd name="connsiteX535" fmla="*/ 819288 w 1298190"/>
                <a:gd name="connsiteY535" fmla="*/ 1652085 h 3657590"/>
                <a:gd name="connsiteX536" fmla="*/ 799121 w 1298190"/>
                <a:gd name="connsiteY536" fmla="*/ 1657267 h 3657590"/>
                <a:gd name="connsiteX537" fmla="*/ 792847 w 1298190"/>
                <a:gd name="connsiteY537" fmla="*/ 1661788 h 3657590"/>
                <a:gd name="connsiteX538" fmla="*/ 789608 w 1298190"/>
                <a:gd name="connsiteY538" fmla="*/ 1664976 h 3657590"/>
                <a:gd name="connsiteX539" fmla="*/ 786586 w 1298190"/>
                <a:gd name="connsiteY539" fmla="*/ 1668659 h 3657590"/>
                <a:gd name="connsiteX540" fmla="*/ 784135 w 1298190"/>
                <a:gd name="connsiteY540" fmla="*/ 1672253 h 3657590"/>
                <a:gd name="connsiteX541" fmla="*/ 782103 w 1298190"/>
                <a:gd name="connsiteY541" fmla="*/ 1675809 h 3657590"/>
                <a:gd name="connsiteX542" fmla="*/ 780388 w 1298190"/>
                <a:gd name="connsiteY542" fmla="*/ 1679314 h 3657590"/>
                <a:gd name="connsiteX543" fmla="*/ 778915 w 1298190"/>
                <a:gd name="connsiteY543" fmla="*/ 1682781 h 3657590"/>
                <a:gd name="connsiteX544" fmla="*/ 777658 w 1298190"/>
                <a:gd name="connsiteY544" fmla="*/ 1686210 h 3657590"/>
                <a:gd name="connsiteX545" fmla="*/ 776566 w 1298190"/>
                <a:gd name="connsiteY545" fmla="*/ 1689601 h 3657590"/>
                <a:gd name="connsiteX546" fmla="*/ 775626 w 1298190"/>
                <a:gd name="connsiteY546" fmla="*/ 1692966 h 3657590"/>
                <a:gd name="connsiteX547" fmla="*/ 774813 w 1298190"/>
                <a:gd name="connsiteY547" fmla="*/ 1696294 h 3657590"/>
                <a:gd name="connsiteX548" fmla="*/ 774127 w 1298190"/>
                <a:gd name="connsiteY548" fmla="*/ 1699583 h 3657590"/>
                <a:gd name="connsiteX549" fmla="*/ 773530 w 1298190"/>
                <a:gd name="connsiteY549" fmla="*/ 1702860 h 3657590"/>
                <a:gd name="connsiteX550" fmla="*/ 773022 w 1298190"/>
                <a:gd name="connsiteY550" fmla="*/ 1706086 h 3657590"/>
                <a:gd name="connsiteX551" fmla="*/ 772603 w 1298190"/>
                <a:gd name="connsiteY551" fmla="*/ 1709286 h 3657590"/>
                <a:gd name="connsiteX552" fmla="*/ 772248 w 1298190"/>
                <a:gd name="connsiteY552" fmla="*/ 1712448 h 3657590"/>
                <a:gd name="connsiteX553" fmla="*/ 771968 w 1298190"/>
                <a:gd name="connsiteY553" fmla="*/ 1715572 h 3657590"/>
                <a:gd name="connsiteX554" fmla="*/ 771752 w 1298190"/>
                <a:gd name="connsiteY554" fmla="*/ 1718671 h 3657590"/>
                <a:gd name="connsiteX555" fmla="*/ 771600 w 1298190"/>
                <a:gd name="connsiteY555" fmla="*/ 1721732 h 3657590"/>
                <a:gd name="connsiteX556" fmla="*/ 771486 w 1298190"/>
                <a:gd name="connsiteY556" fmla="*/ 1724755 h 3657590"/>
                <a:gd name="connsiteX557" fmla="*/ 771435 w 1298190"/>
                <a:gd name="connsiteY557" fmla="*/ 1727752 h 3657590"/>
                <a:gd name="connsiteX558" fmla="*/ 771422 w 1298190"/>
                <a:gd name="connsiteY558" fmla="*/ 1730711 h 3657590"/>
                <a:gd name="connsiteX559" fmla="*/ 771448 w 1298190"/>
                <a:gd name="connsiteY559" fmla="*/ 1733632 h 3657590"/>
                <a:gd name="connsiteX560" fmla="*/ 771524 w 1298190"/>
                <a:gd name="connsiteY560" fmla="*/ 1736515 h 3657590"/>
                <a:gd name="connsiteX561" fmla="*/ 771625 w 1298190"/>
                <a:gd name="connsiteY561" fmla="*/ 1739359 h 3657590"/>
                <a:gd name="connsiteX562" fmla="*/ 771765 w 1298190"/>
                <a:gd name="connsiteY562" fmla="*/ 1742179 h 3657590"/>
                <a:gd name="connsiteX563" fmla="*/ 771943 w 1298190"/>
                <a:gd name="connsiteY563" fmla="*/ 1744947 h 3657590"/>
                <a:gd name="connsiteX564" fmla="*/ 772146 w 1298190"/>
                <a:gd name="connsiteY564" fmla="*/ 1747691 h 3657590"/>
                <a:gd name="connsiteX565" fmla="*/ 772387 w 1298190"/>
                <a:gd name="connsiteY565" fmla="*/ 1750383 h 3657590"/>
                <a:gd name="connsiteX566" fmla="*/ 772641 w 1298190"/>
                <a:gd name="connsiteY566" fmla="*/ 1753050 h 3657590"/>
                <a:gd name="connsiteX567" fmla="*/ 772933 w 1298190"/>
                <a:gd name="connsiteY567" fmla="*/ 1755666 h 3657590"/>
                <a:gd name="connsiteX568" fmla="*/ 773251 w 1298190"/>
                <a:gd name="connsiteY568" fmla="*/ 1758244 h 3657590"/>
                <a:gd name="connsiteX569" fmla="*/ 773581 w 1298190"/>
                <a:gd name="connsiteY569" fmla="*/ 1760797 h 3657590"/>
                <a:gd name="connsiteX570" fmla="*/ 773949 w 1298190"/>
                <a:gd name="connsiteY570" fmla="*/ 1763299 h 3657590"/>
                <a:gd name="connsiteX571" fmla="*/ 774330 w 1298190"/>
                <a:gd name="connsiteY571" fmla="*/ 1765763 h 3657590"/>
                <a:gd name="connsiteX572" fmla="*/ 774724 w 1298190"/>
                <a:gd name="connsiteY572" fmla="*/ 1768176 h 3657590"/>
                <a:gd name="connsiteX573" fmla="*/ 775143 w 1298190"/>
                <a:gd name="connsiteY573" fmla="*/ 1770551 h 3657590"/>
                <a:gd name="connsiteX574" fmla="*/ 775588 w 1298190"/>
                <a:gd name="connsiteY574" fmla="*/ 1772900 h 3657590"/>
                <a:gd name="connsiteX575" fmla="*/ 776045 w 1298190"/>
                <a:gd name="connsiteY575" fmla="*/ 1775186 h 3657590"/>
                <a:gd name="connsiteX576" fmla="*/ 629729 w 1298190"/>
                <a:gd name="connsiteY576" fmla="*/ 1805818 h 3657590"/>
                <a:gd name="connsiteX577" fmla="*/ 558583 w 1298190"/>
                <a:gd name="connsiteY577" fmla="*/ 1707165 h 3657590"/>
                <a:gd name="connsiteX578" fmla="*/ 522833 w 1298190"/>
                <a:gd name="connsiteY578" fmla="*/ 1723954 h 3657590"/>
                <a:gd name="connsiteX579" fmla="*/ 521919 w 1298190"/>
                <a:gd name="connsiteY579" fmla="*/ 1724818 h 3657590"/>
                <a:gd name="connsiteX580" fmla="*/ 518236 w 1298190"/>
                <a:gd name="connsiteY580" fmla="*/ 1728590 h 3657590"/>
                <a:gd name="connsiteX581" fmla="*/ 514819 w 1298190"/>
                <a:gd name="connsiteY581" fmla="*/ 1732425 h 3657590"/>
                <a:gd name="connsiteX582" fmla="*/ 511644 w 1298190"/>
                <a:gd name="connsiteY582" fmla="*/ 1736312 h 3657590"/>
                <a:gd name="connsiteX583" fmla="*/ 508660 w 1298190"/>
                <a:gd name="connsiteY583" fmla="*/ 1740236 h 3657590"/>
                <a:gd name="connsiteX584" fmla="*/ 505853 w 1298190"/>
                <a:gd name="connsiteY584" fmla="*/ 1744211 h 3657590"/>
                <a:gd name="connsiteX585" fmla="*/ 503186 w 1298190"/>
                <a:gd name="connsiteY585" fmla="*/ 1748211 h 3657590"/>
                <a:gd name="connsiteX586" fmla="*/ 500659 w 1298190"/>
                <a:gd name="connsiteY586" fmla="*/ 1752237 h 3657590"/>
                <a:gd name="connsiteX587" fmla="*/ 498246 w 1298190"/>
                <a:gd name="connsiteY587" fmla="*/ 1756301 h 3657590"/>
                <a:gd name="connsiteX588" fmla="*/ 495960 w 1298190"/>
                <a:gd name="connsiteY588" fmla="*/ 1760365 h 3657590"/>
                <a:gd name="connsiteX589" fmla="*/ 493775 w 1298190"/>
                <a:gd name="connsiteY589" fmla="*/ 1764467 h 3657590"/>
                <a:gd name="connsiteX590" fmla="*/ 491693 w 1298190"/>
                <a:gd name="connsiteY590" fmla="*/ 1768569 h 3657590"/>
                <a:gd name="connsiteX591" fmla="*/ 489699 w 1298190"/>
                <a:gd name="connsiteY591" fmla="*/ 1772710 h 3657590"/>
                <a:gd name="connsiteX592" fmla="*/ 487819 w 1298190"/>
                <a:gd name="connsiteY592" fmla="*/ 1776837 h 3657590"/>
                <a:gd name="connsiteX593" fmla="*/ 486016 w 1298190"/>
                <a:gd name="connsiteY593" fmla="*/ 1780990 h 3657590"/>
                <a:gd name="connsiteX594" fmla="*/ 484301 w 1298190"/>
                <a:gd name="connsiteY594" fmla="*/ 1785156 h 3657590"/>
                <a:gd name="connsiteX595" fmla="*/ 482676 w 1298190"/>
                <a:gd name="connsiteY595" fmla="*/ 1789321 h 3657590"/>
                <a:gd name="connsiteX596" fmla="*/ 481152 w 1298190"/>
                <a:gd name="connsiteY596" fmla="*/ 1793512 h 3657590"/>
                <a:gd name="connsiteX597" fmla="*/ 479704 w 1298190"/>
                <a:gd name="connsiteY597" fmla="*/ 1797703 h 3657590"/>
                <a:gd name="connsiteX598" fmla="*/ 337578 w 1298190"/>
                <a:gd name="connsiteY598" fmla="*/ 1751221 h 3657590"/>
                <a:gd name="connsiteX599" fmla="*/ 325348 w 1298190"/>
                <a:gd name="connsiteY599" fmla="*/ 1630114 h 3657590"/>
                <a:gd name="connsiteX600" fmla="*/ 303085 w 1298190"/>
                <a:gd name="connsiteY600" fmla="*/ 1624603 h 3657590"/>
                <a:gd name="connsiteX601" fmla="*/ 211836 w 1298190"/>
                <a:gd name="connsiteY601" fmla="*/ 1668989 h 3657590"/>
                <a:gd name="connsiteX602" fmla="*/ 112014 w 1298190"/>
                <a:gd name="connsiteY602" fmla="*/ 1557763 h 3657590"/>
                <a:gd name="connsiteX603" fmla="*/ 115888 w 1298190"/>
                <a:gd name="connsiteY603" fmla="*/ 1554169 h 3657590"/>
                <a:gd name="connsiteX604" fmla="*/ 119685 w 1298190"/>
                <a:gd name="connsiteY604" fmla="*/ 1550473 h 3657590"/>
                <a:gd name="connsiteX605" fmla="*/ 122263 w 1298190"/>
                <a:gd name="connsiteY605" fmla="*/ 1547895 h 3657590"/>
                <a:gd name="connsiteX606" fmla="*/ 161862 w 1298190"/>
                <a:gd name="connsiteY606" fmla="*/ 1446778 h 3657590"/>
                <a:gd name="connsiteX607" fmla="*/ 89091 w 1298190"/>
                <a:gd name="connsiteY607" fmla="*/ 1419079 h 3657590"/>
                <a:gd name="connsiteX608" fmla="*/ 43993 w 1298190"/>
                <a:gd name="connsiteY608" fmla="*/ 1423714 h 3657590"/>
                <a:gd name="connsiteX609" fmla="*/ 13323 w 1298190"/>
                <a:gd name="connsiteY609" fmla="*/ 1277386 h 3657590"/>
                <a:gd name="connsiteX610" fmla="*/ 17285 w 1298190"/>
                <a:gd name="connsiteY610" fmla="*/ 1276497 h 3657590"/>
                <a:gd name="connsiteX611" fmla="*/ 21286 w 1298190"/>
                <a:gd name="connsiteY611" fmla="*/ 1275531 h 3657590"/>
                <a:gd name="connsiteX612" fmla="*/ 25274 w 1298190"/>
                <a:gd name="connsiteY612" fmla="*/ 1274490 h 3657590"/>
                <a:gd name="connsiteX613" fmla="*/ 29274 w 1298190"/>
                <a:gd name="connsiteY613" fmla="*/ 1273372 h 3657590"/>
                <a:gd name="connsiteX614" fmla="*/ 33275 w 1298190"/>
                <a:gd name="connsiteY614" fmla="*/ 1272191 h 3657590"/>
                <a:gd name="connsiteX615" fmla="*/ 37275 w 1298190"/>
                <a:gd name="connsiteY615" fmla="*/ 1270934 h 3657590"/>
                <a:gd name="connsiteX616" fmla="*/ 41288 w 1298190"/>
                <a:gd name="connsiteY616" fmla="*/ 1269598 h 3657590"/>
                <a:gd name="connsiteX617" fmla="*/ 45301 w 1298190"/>
                <a:gd name="connsiteY617" fmla="*/ 1268179 h 3657590"/>
                <a:gd name="connsiteX618" fmla="*/ 49315 w 1298190"/>
                <a:gd name="connsiteY618" fmla="*/ 1266682 h 3657590"/>
                <a:gd name="connsiteX619" fmla="*/ 53328 w 1298190"/>
                <a:gd name="connsiteY619" fmla="*/ 1265103 h 3657590"/>
                <a:gd name="connsiteX620" fmla="*/ 57328 w 1298190"/>
                <a:gd name="connsiteY620" fmla="*/ 1263427 h 3657590"/>
                <a:gd name="connsiteX621" fmla="*/ 61329 w 1298190"/>
                <a:gd name="connsiteY621" fmla="*/ 1261652 h 3657590"/>
                <a:gd name="connsiteX622" fmla="*/ 65329 w 1298190"/>
                <a:gd name="connsiteY622" fmla="*/ 1259755 h 3657590"/>
                <a:gd name="connsiteX623" fmla="*/ 69304 w 1298190"/>
                <a:gd name="connsiteY623" fmla="*/ 1257767 h 3657590"/>
                <a:gd name="connsiteX624" fmla="*/ 73280 w 1298190"/>
                <a:gd name="connsiteY624" fmla="*/ 1255628 h 3657590"/>
                <a:gd name="connsiteX625" fmla="*/ 77229 w 1298190"/>
                <a:gd name="connsiteY625" fmla="*/ 1253356 h 3657590"/>
                <a:gd name="connsiteX626" fmla="*/ 81179 w 1298190"/>
                <a:gd name="connsiteY626" fmla="*/ 1250906 h 3657590"/>
                <a:gd name="connsiteX627" fmla="*/ 85090 w 1298190"/>
                <a:gd name="connsiteY627" fmla="*/ 1248252 h 3657590"/>
                <a:gd name="connsiteX628" fmla="*/ 88964 w 1298190"/>
                <a:gd name="connsiteY628" fmla="*/ 1245394 h 3657590"/>
                <a:gd name="connsiteX629" fmla="*/ 92812 w 1298190"/>
                <a:gd name="connsiteY629" fmla="*/ 1242235 h 3657590"/>
                <a:gd name="connsiteX630" fmla="*/ 96597 w 1298190"/>
                <a:gd name="connsiteY630" fmla="*/ 1238742 h 3657590"/>
                <a:gd name="connsiteX631" fmla="*/ 98781 w 1298190"/>
                <a:gd name="connsiteY631" fmla="*/ 1236479 h 3657590"/>
                <a:gd name="connsiteX632" fmla="*/ 111938 w 1298190"/>
                <a:gd name="connsiteY632" fmla="*/ 1206277 h 3657590"/>
                <a:gd name="connsiteX633" fmla="*/ 21425 w 1298190"/>
                <a:gd name="connsiteY633" fmla="*/ 1127358 h 3657590"/>
                <a:gd name="connsiteX634" fmla="*/ 67920 w 1298190"/>
                <a:gd name="connsiteY634" fmla="*/ 985274 h 3657590"/>
                <a:gd name="connsiteX635" fmla="*/ 69635 w 1298190"/>
                <a:gd name="connsiteY635" fmla="*/ 985818 h 3657590"/>
                <a:gd name="connsiteX636" fmla="*/ 71387 w 1298190"/>
                <a:gd name="connsiteY636" fmla="*/ 986364 h 3657590"/>
                <a:gd name="connsiteX637" fmla="*/ 73178 w 1298190"/>
                <a:gd name="connsiteY637" fmla="*/ 986911 h 3657590"/>
                <a:gd name="connsiteX638" fmla="*/ 75032 w 1298190"/>
                <a:gd name="connsiteY638" fmla="*/ 987445 h 3657590"/>
                <a:gd name="connsiteX639" fmla="*/ 76912 w 1298190"/>
                <a:gd name="connsiteY639" fmla="*/ 987976 h 3657590"/>
                <a:gd name="connsiteX640" fmla="*/ 78842 w 1298190"/>
                <a:gd name="connsiteY640" fmla="*/ 988512 h 3657590"/>
                <a:gd name="connsiteX641" fmla="*/ 80823 w 1298190"/>
                <a:gd name="connsiteY641" fmla="*/ 989033 h 3657590"/>
                <a:gd name="connsiteX642" fmla="*/ 82830 w 1298190"/>
                <a:gd name="connsiteY642" fmla="*/ 989555 h 3657590"/>
                <a:gd name="connsiteX643" fmla="*/ 84887 w 1298190"/>
                <a:gd name="connsiteY643" fmla="*/ 990060 h 3657590"/>
                <a:gd name="connsiteX644" fmla="*/ 86995 w 1298190"/>
                <a:gd name="connsiteY644" fmla="*/ 990571 h 3657590"/>
                <a:gd name="connsiteX645" fmla="*/ 89142 w 1298190"/>
                <a:gd name="connsiteY645" fmla="*/ 991067 h 3657590"/>
                <a:gd name="connsiteX646" fmla="*/ 91326 w 1298190"/>
                <a:gd name="connsiteY646" fmla="*/ 991549 h 3657590"/>
                <a:gd name="connsiteX647" fmla="*/ 93561 w 1298190"/>
                <a:gd name="connsiteY647" fmla="*/ 992020 h 3657590"/>
                <a:gd name="connsiteX648" fmla="*/ 95822 w 1298190"/>
                <a:gd name="connsiteY648" fmla="*/ 992476 h 3657590"/>
                <a:gd name="connsiteX649" fmla="*/ 98133 w 1298190"/>
                <a:gd name="connsiteY649" fmla="*/ 992918 h 3657590"/>
                <a:gd name="connsiteX650" fmla="*/ 100495 w 1298190"/>
                <a:gd name="connsiteY650" fmla="*/ 993349 h 3657590"/>
                <a:gd name="connsiteX651" fmla="*/ 102896 w 1298190"/>
                <a:gd name="connsiteY651" fmla="*/ 993756 h 3657590"/>
                <a:gd name="connsiteX652" fmla="*/ 105334 w 1298190"/>
                <a:gd name="connsiteY652" fmla="*/ 994153 h 3657590"/>
                <a:gd name="connsiteX653" fmla="*/ 107811 w 1298190"/>
                <a:gd name="connsiteY653" fmla="*/ 994520 h 3657590"/>
                <a:gd name="connsiteX654" fmla="*/ 110325 w 1298190"/>
                <a:gd name="connsiteY654" fmla="*/ 994862 h 3657590"/>
                <a:gd name="connsiteX655" fmla="*/ 112891 w 1298190"/>
                <a:gd name="connsiteY655" fmla="*/ 995179 h 3657590"/>
                <a:gd name="connsiteX656" fmla="*/ 115494 w 1298190"/>
                <a:gd name="connsiteY656" fmla="*/ 995473 h 3657590"/>
                <a:gd name="connsiteX657" fmla="*/ 118136 w 1298190"/>
                <a:gd name="connsiteY657" fmla="*/ 995741 h 3657590"/>
                <a:gd name="connsiteX658" fmla="*/ 120828 w 1298190"/>
                <a:gd name="connsiteY658" fmla="*/ 995968 h 3657590"/>
                <a:gd name="connsiteX659" fmla="*/ 123546 w 1298190"/>
                <a:gd name="connsiteY659" fmla="*/ 996147 h 3657590"/>
                <a:gd name="connsiteX660" fmla="*/ 126315 w 1298190"/>
                <a:gd name="connsiteY660" fmla="*/ 996296 h 3657590"/>
                <a:gd name="connsiteX661" fmla="*/ 129121 w 1298190"/>
                <a:gd name="connsiteY661" fmla="*/ 996400 h 3657590"/>
                <a:gd name="connsiteX662" fmla="*/ 131953 w 1298190"/>
                <a:gd name="connsiteY662" fmla="*/ 996449 h 3657590"/>
                <a:gd name="connsiteX663" fmla="*/ 133223 w 1298190"/>
                <a:gd name="connsiteY663" fmla="*/ 996449 h 3657590"/>
                <a:gd name="connsiteX664" fmla="*/ 134849 w 1298190"/>
                <a:gd name="connsiteY664" fmla="*/ 996449 h 3657590"/>
                <a:gd name="connsiteX665" fmla="*/ 137770 w 1298190"/>
                <a:gd name="connsiteY665" fmla="*/ 996386 h 3657590"/>
                <a:gd name="connsiteX666" fmla="*/ 140742 w 1298190"/>
                <a:gd name="connsiteY666" fmla="*/ 996246 h 3657590"/>
                <a:gd name="connsiteX667" fmla="*/ 143752 w 1298190"/>
                <a:gd name="connsiteY667" fmla="*/ 996043 h 3657590"/>
                <a:gd name="connsiteX668" fmla="*/ 146787 w 1298190"/>
                <a:gd name="connsiteY668" fmla="*/ 995751 h 3657590"/>
                <a:gd name="connsiteX669" fmla="*/ 149873 w 1298190"/>
                <a:gd name="connsiteY669" fmla="*/ 995359 h 3657590"/>
                <a:gd name="connsiteX670" fmla="*/ 152997 w 1298190"/>
                <a:gd name="connsiteY670" fmla="*/ 994862 h 3657590"/>
                <a:gd name="connsiteX671" fmla="*/ 159804 w 1298190"/>
                <a:gd name="connsiteY671" fmla="*/ 993373 h 3657590"/>
                <a:gd name="connsiteX672" fmla="*/ 167221 w 1298190"/>
                <a:gd name="connsiteY672" fmla="*/ 990938 h 3657590"/>
                <a:gd name="connsiteX673" fmla="*/ 173317 w 1298190"/>
                <a:gd name="connsiteY673" fmla="*/ 988066 h 3657590"/>
                <a:gd name="connsiteX674" fmla="*/ 178384 w 1298190"/>
                <a:gd name="connsiteY674" fmla="*/ 984816 h 3657590"/>
                <a:gd name="connsiteX675" fmla="*/ 182588 w 1298190"/>
                <a:gd name="connsiteY675" fmla="*/ 981250 h 3657590"/>
                <a:gd name="connsiteX676" fmla="*/ 184709 w 1298190"/>
                <a:gd name="connsiteY676" fmla="*/ 978997 h 3657590"/>
                <a:gd name="connsiteX677" fmla="*/ 188989 w 1298190"/>
                <a:gd name="connsiteY677" fmla="*/ 973004 h 3657590"/>
                <a:gd name="connsiteX678" fmla="*/ 150114 w 1298190"/>
                <a:gd name="connsiteY678" fmla="*/ 859493 h 3657590"/>
                <a:gd name="connsiteX679" fmla="*/ 181471 w 1298190"/>
                <a:gd name="connsiteY679" fmla="*/ 825799 h 3657590"/>
                <a:gd name="connsiteX680" fmla="*/ 183477 w 1298190"/>
                <a:gd name="connsiteY680" fmla="*/ 823820 h 3657590"/>
                <a:gd name="connsiteX681" fmla="*/ 185496 w 1298190"/>
                <a:gd name="connsiteY681" fmla="*/ 821850 h 3657590"/>
                <a:gd name="connsiteX682" fmla="*/ 187338 w 1298190"/>
                <a:gd name="connsiteY682" fmla="*/ 820060 h 3657590"/>
                <a:gd name="connsiteX683" fmla="*/ 189319 w 1298190"/>
                <a:gd name="connsiteY683" fmla="*/ 818169 h 3657590"/>
                <a:gd name="connsiteX684" fmla="*/ 191186 w 1298190"/>
                <a:gd name="connsiteY684" fmla="*/ 816378 h 3657590"/>
                <a:gd name="connsiteX685" fmla="*/ 193129 w 1298190"/>
                <a:gd name="connsiteY685" fmla="*/ 814563 h 3657590"/>
                <a:gd name="connsiteX686" fmla="*/ 195110 w 1298190"/>
                <a:gd name="connsiteY686" fmla="*/ 812708 h 3657590"/>
                <a:gd name="connsiteX687" fmla="*/ 197028 w 1298190"/>
                <a:gd name="connsiteY687" fmla="*/ 810926 h 3657590"/>
                <a:gd name="connsiteX688" fmla="*/ 199022 w 1298190"/>
                <a:gd name="connsiteY688" fmla="*/ 809101 h 3657590"/>
                <a:gd name="connsiteX689" fmla="*/ 200952 w 1298190"/>
                <a:gd name="connsiteY689" fmla="*/ 807349 h 3657590"/>
                <a:gd name="connsiteX690" fmla="*/ 202934 w 1298190"/>
                <a:gd name="connsiteY690" fmla="*/ 805569 h 3657590"/>
                <a:gd name="connsiteX691" fmla="*/ 204953 w 1298190"/>
                <a:gd name="connsiteY691" fmla="*/ 803777 h 3657590"/>
                <a:gd name="connsiteX692" fmla="*/ 206921 w 1298190"/>
                <a:gd name="connsiteY692" fmla="*/ 802036 h 3657590"/>
                <a:gd name="connsiteX693" fmla="*/ 208953 w 1298190"/>
                <a:gd name="connsiteY693" fmla="*/ 800260 h 3657590"/>
                <a:gd name="connsiteX694" fmla="*/ 210934 w 1298190"/>
                <a:gd name="connsiteY694" fmla="*/ 798543 h 3657590"/>
                <a:gd name="connsiteX695" fmla="*/ 214071 w 1298190"/>
                <a:gd name="connsiteY695" fmla="*/ 795855 h 3657590"/>
                <a:gd name="connsiteX696" fmla="*/ 218123 w 1298190"/>
                <a:gd name="connsiteY696" fmla="*/ 792437 h 3657590"/>
                <a:gd name="connsiteX697" fmla="*/ 222199 w 1298190"/>
                <a:gd name="connsiteY697" fmla="*/ 789073 h 3657590"/>
                <a:gd name="connsiteX698" fmla="*/ 226327 w 1298190"/>
                <a:gd name="connsiteY698" fmla="*/ 785729 h 3657590"/>
                <a:gd name="connsiteX699" fmla="*/ 230467 w 1298190"/>
                <a:gd name="connsiteY699" fmla="*/ 782431 h 3657590"/>
                <a:gd name="connsiteX700" fmla="*/ 234645 w 1298190"/>
                <a:gd name="connsiteY700" fmla="*/ 779166 h 3657590"/>
                <a:gd name="connsiteX701" fmla="*/ 238862 w 1298190"/>
                <a:gd name="connsiteY701" fmla="*/ 775941 h 3657590"/>
                <a:gd name="connsiteX702" fmla="*/ 243091 w 1298190"/>
                <a:gd name="connsiteY702" fmla="*/ 772752 h 3657590"/>
                <a:gd name="connsiteX703" fmla="*/ 247358 w 1298190"/>
                <a:gd name="connsiteY703" fmla="*/ 769601 h 3657590"/>
                <a:gd name="connsiteX704" fmla="*/ 251651 w 1298190"/>
                <a:gd name="connsiteY704" fmla="*/ 766506 h 3657590"/>
                <a:gd name="connsiteX705" fmla="*/ 255981 w 1298190"/>
                <a:gd name="connsiteY705" fmla="*/ 763430 h 3657590"/>
                <a:gd name="connsiteX706" fmla="*/ 260337 w 1298190"/>
                <a:gd name="connsiteY706" fmla="*/ 760394 h 3657590"/>
                <a:gd name="connsiteX707" fmla="*/ 261379 w 1298190"/>
                <a:gd name="connsiteY707" fmla="*/ 759685 h 3657590"/>
                <a:gd name="connsiteX708" fmla="*/ 279514 w 1298190"/>
                <a:gd name="connsiteY708" fmla="*/ 777668 h 3657590"/>
                <a:gd name="connsiteX709" fmla="*/ 291541 w 1298190"/>
                <a:gd name="connsiteY709" fmla="*/ 787738 h 3657590"/>
                <a:gd name="connsiteX710" fmla="*/ 300520 w 1298190"/>
                <a:gd name="connsiteY710" fmla="*/ 794382 h 3657590"/>
                <a:gd name="connsiteX711" fmla="*/ 307950 w 1298190"/>
                <a:gd name="connsiteY711" fmla="*/ 799282 h 3657590"/>
                <a:gd name="connsiteX712" fmla="*/ 314325 w 1298190"/>
                <a:gd name="connsiteY712" fmla="*/ 803043 h 3657590"/>
                <a:gd name="connsiteX713" fmla="*/ 319926 w 1298190"/>
                <a:gd name="connsiteY713" fmla="*/ 805975 h 3657590"/>
                <a:gd name="connsiteX714" fmla="*/ 324891 w 1298190"/>
                <a:gd name="connsiteY714" fmla="*/ 808287 h 3657590"/>
                <a:gd name="connsiteX715" fmla="*/ 329362 w 1298190"/>
                <a:gd name="connsiteY715" fmla="*/ 810093 h 3657590"/>
                <a:gd name="connsiteX716" fmla="*/ 333362 w 1298190"/>
                <a:gd name="connsiteY716" fmla="*/ 811487 h 3657590"/>
                <a:gd name="connsiteX717" fmla="*/ 336931 w 1298190"/>
                <a:gd name="connsiteY717" fmla="*/ 812544 h 3657590"/>
                <a:gd name="connsiteX718" fmla="*/ 340118 w 1298190"/>
                <a:gd name="connsiteY718" fmla="*/ 813327 h 3657590"/>
                <a:gd name="connsiteX719" fmla="*/ 342887 w 1298190"/>
                <a:gd name="connsiteY719" fmla="*/ 813873 h 3657590"/>
                <a:gd name="connsiteX720" fmla="*/ 345237 w 1298190"/>
                <a:gd name="connsiteY720" fmla="*/ 814230 h 3657590"/>
                <a:gd name="connsiteX721" fmla="*/ 347129 w 1298190"/>
                <a:gd name="connsiteY721" fmla="*/ 814459 h 3657590"/>
                <a:gd name="connsiteX722" fmla="*/ 348488 w 1298190"/>
                <a:gd name="connsiteY722" fmla="*/ 814572 h 3657590"/>
                <a:gd name="connsiteX723" fmla="*/ 349174 w 1298190"/>
                <a:gd name="connsiteY723" fmla="*/ 814621 h 3657590"/>
                <a:gd name="connsiteX724" fmla="*/ 352184 w 1298190"/>
                <a:gd name="connsiteY724" fmla="*/ 814712 h 3657590"/>
                <a:gd name="connsiteX725" fmla="*/ 372326 w 1298190"/>
                <a:gd name="connsiteY725" fmla="*/ 809533 h 3657590"/>
                <a:gd name="connsiteX726" fmla="*/ 382333 w 1298190"/>
                <a:gd name="connsiteY726" fmla="*/ 801278 h 3657590"/>
                <a:gd name="connsiteX727" fmla="*/ 395402 w 1298190"/>
                <a:gd name="connsiteY727" fmla="*/ 691650 h 3657590"/>
                <a:gd name="connsiteX728" fmla="*/ 399605 w 1298190"/>
                <a:gd name="connsiteY728" fmla="*/ 690192 h 3657590"/>
                <a:gd name="connsiteX729" fmla="*/ 403809 w 1298190"/>
                <a:gd name="connsiteY729" fmla="*/ 688769 h 3657590"/>
                <a:gd name="connsiteX730" fmla="*/ 407987 w 1298190"/>
                <a:gd name="connsiteY730" fmla="*/ 687384 h 3657590"/>
                <a:gd name="connsiteX731" fmla="*/ 412127 w 1298190"/>
                <a:gd name="connsiteY731" fmla="*/ 686050 h 3657590"/>
                <a:gd name="connsiteX732" fmla="*/ 416267 w 1298190"/>
                <a:gd name="connsiteY732" fmla="*/ 684755 h 3657590"/>
                <a:gd name="connsiteX733" fmla="*/ 420382 w 1298190"/>
                <a:gd name="connsiteY733" fmla="*/ 683510 h 3657590"/>
                <a:gd name="connsiteX734" fmla="*/ 424472 w 1298190"/>
                <a:gd name="connsiteY734" fmla="*/ 682289 h 3657590"/>
                <a:gd name="connsiteX735" fmla="*/ 428548 w 1298190"/>
                <a:gd name="connsiteY735" fmla="*/ 681123 h 3657590"/>
                <a:gd name="connsiteX736" fmla="*/ 432587 w 1298190"/>
                <a:gd name="connsiteY736" fmla="*/ 679993 h 3657590"/>
                <a:gd name="connsiteX737" fmla="*/ 436600 w 1298190"/>
                <a:gd name="connsiteY737" fmla="*/ 678887 h 3657590"/>
                <a:gd name="connsiteX738" fmla="*/ 440588 w 1298190"/>
                <a:gd name="connsiteY738" fmla="*/ 677834 h 3657590"/>
                <a:gd name="connsiteX739" fmla="*/ 444550 w 1298190"/>
                <a:gd name="connsiteY739" fmla="*/ 676818 h 3657590"/>
                <a:gd name="connsiteX740" fmla="*/ 448487 w 1298190"/>
                <a:gd name="connsiteY740" fmla="*/ 675840 h 3657590"/>
                <a:gd name="connsiteX741" fmla="*/ 452374 w 1298190"/>
                <a:gd name="connsiteY741" fmla="*/ 674898 h 3657590"/>
                <a:gd name="connsiteX742" fmla="*/ 456247 w 1298190"/>
                <a:gd name="connsiteY742" fmla="*/ 674000 h 3657590"/>
                <a:gd name="connsiteX743" fmla="*/ 460057 w 1298190"/>
                <a:gd name="connsiteY743" fmla="*/ 673121 h 3657590"/>
                <a:gd name="connsiteX744" fmla="*/ 463842 w 1298190"/>
                <a:gd name="connsiteY744" fmla="*/ 672298 h 3657590"/>
                <a:gd name="connsiteX745" fmla="*/ 467588 w 1298190"/>
                <a:gd name="connsiteY745" fmla="*/ 671494 h 3657590"/>
                <a:gd name="connsiteX746" fmla="*/ 471284 w 1298190"/>
                <a:gd name="connsiteY746" fmla="*/ 670736 h 3657590"/>
                <a:gd name="connsiteX747" fmla="*/ 474929 w 1298190"/>
                <a:gd name="connsiteY747" fmla="*/ 670011 h 3657590"/>
                <a:gd name="connsiteX748" fmla="*/ 478523 w 1298190"/>
                <a:gd name="connsiteY748" fmla="*/ 669311 h 3657590"/>
                <a:gd name="connsiteX749" fmla="*/ 482066 w 1298190"/>
                <a:gd name="connsiteY749" fmla="*/ 668662 h 3657590"/>
                <a:gd name="connsiteX750" fmla="*/ 485533 w 1298190"/>
                <a:gd name="connsiteY750" fmla="*/ 668027 h 3657590"/>
                <a:gd name="connsiteX751" fmla="*/ 488937 w 1298190"/>
                <a:gd name="connsiteY751" fmla="*/ 667447 h 3657590"/>
                <a:gd name="connsiteX752" fmla="*/ 492277 w 1298190"/>
                <a:gd name="connsiteY752" fmla="*/ 666885 h 3657590"/>
                <a:gd name="connsiteX753" fmla="*/ 495515 w 1298190"/>
                <a:gd name="connsiteY753" fmla="*/ 666365 h 3657590"/>
                <a:gd name="connsiteX754" fmla="*/ 498678 w 1298190"/>
                <a:gd name="connsiteY754" fmla="*/ 665869 h 3657590"/>
                <a:gd name="connsiteX755" fmla="*/ 501738 w 1298190"/>
                <a:gd name="connsiteY755" fmla="*/ 665412 h 3657590"/>
                <a:gd name="connsiteX756" fmla="*/ 504672 w 1298190"/>
                <a:gd name="connsiteY756" fmla="*/ 664996 h 3657590"/>
                <a:gd name="connsiteX757" fmla="*/ 507491 w 1298190"/>
                <a:gd name="connsiteY757" fmla="*/ 664599 h 3657590"/>
                <a:gd name="connsiteX758" fmla="*/ 510146 w 1298190"/>
                <a:gd name="connsiteY758" fmla="*/ 664241 h 3657590"/>
                <a:gd name="connsiteX759" fmla="*/ 512648 w 1298190"/>
                <a:gd name="connsiteY759" fmla="*/ 663924 h 3657590"/>
                <a:gd name="connsiteX760" fmla="*/ 514921 w 1298190"/>
                <a:gd name="connsiteY760" fmla="*/ 663637 h 3657590"/>
                <a:gd name="connsiteX761" fmla="*/ 516953 w 1298190"/>
                <a:gd name="connsiteY761" fmla="*/ 663393 h 3657590"/>
                <a:gd name="connsiteX762" fmla="*/ 518680 w 1298190"/>
                <a:gd name="connsiteY762" fmla="*/ 663190 h 3657590"/>
                <a:gd name="connsiteX763" fmla="*/ 519975 w 1298190"/>
                <a:gd name="connsiteY763" fmla="*/ 663036 h 3657590"/>
                <a:gd name="connsiteX764" fmla="*/ 520712 w 1298190"/>
                <a:gd name="connsiteY764" fmla="*/ 662961 h 3657590"/>
                <a:gd name="connsiteX765" fmla="*/ 541718 w 1298190"/>
                <a:gd name="connsiteY765" fmla="*/ 660982 h 3657590"/>
                <a:gd name="connsiteX766" fmla="*/ 571855 w 1298190"/>
                <a:gd name="connsiteY766" fmla="*/ 734106 h 3657590"/>
                <a:gd name="connsiteX767" fmla="*/ 572477 w 1298190"/>
                <a:gd name="connsiteY767" fmla="*/ 734970 h 3657590"/>
                <a:gd name="connsiteX768" fmla="*/ 573176 w 1298190"/>
                <a:gd name="connsiteY768" fmla="*/ 735882 h 3657590"/>
                <a:gd name="connsiteX769" fmla="*/ 573925 w 1298190"/>
                <a:gd name="connsiteY769" fmla="*/ 736849 h 3657590"/>
                <a:gd name="connsiteX770" fmla="*/ 574725 w 1298190"/>
                <a:gd name="connsiteY770" fmla="*/ 737867 h 3657590"/>
                <a:gd name="connsiteX771" fmla="*/ 575601 w 1298190"/>
                <a:gd name="connsiteY771" fmla="*/ 738944 h 3657590"/>
                <a:gd name="connsiteX772" fmla="*/ 576541 w 1298190"/>
                <a:gd name="connsiteY772" fmla="*/ 740064 h 3657590"/>
                <a:gd name="connsiteX773" fmla="*/ 577557 w 1298190"/>
                <a:gd name="connsiteY773" fmla="*/ 741230 h 3657590"/>
                <a:gd name="connsiteX774" fmla="*/ 578662 w 1298190"/>
                <a:gd name="connsiteY774" fmla="*/ 742450 h 3657590"/>
                <a:gd name="connsiteX775" fmla="*/ 579856 w 1298190"/>
                <a:gd name="connsiteY775" fmla="*/ 743706 h 3657590"/>
                <a:gd name="connsiteX776" fmla="*/ 581151 w 1298190"/>
                <a:gd name="connsiteY776" fmla="*/ 745015 h 3657590"/>
                <a:gd name="connsiteX777" fmla="*/ 582561 w 1298190"/>
                <a:gd name="connsiteY777" fmla="*/ 746359 h 3657590"/>
                <a:gd name="connsiteX778" fmla="*/ 584085 w 1298190"/>
                <a:gd name="connsiteY778" fmla="*/ 747743 h 3657590"/>
                <a:gd name="connsiteX779" fmla="*/ 585774 w 1298190"/>
                <a:gd name="connsiteY779" fmla="*/ 749167 h 3657590"/>
                <a:gd name="connsiteX780" fmla="*/ 587641 w 1298190"/>
                <a:gd name="connsiteY780" fmla="*/ 750631 h 3657590"/>
                <a:gd name="connsiteX781" fmla="*/ 589711 w 1298190"/>
                <a:gd name="connsiteY781" fmla="*/ 752115 h 3657590"/>
                <a:gd name="connsiteX782" fmla="*/ 592048 w 1298190"/>
                <a:gd name="connsiteY782" fmla="*/ 753612 h 3657590"/>
                <a:gd name="connsiteX783" fmla="*/ 594740 w 1298190"/>
                <a:gd name="connsiteY783" fmla="*/ 755111 h 3657590"/>
                <a:gd name="connsiteX784" fmla="*/ 597915 w 1298190"/>
                <a:gd name="connsiteY784" fmla="*/ 756584 h 3657590"/>
                <a:gd name="connsiteX785" fmla="*/ 601827 w 1298190"/>
                <a:gd name="connsiteY785" fmla="*/ 757994 h 3657590"/>
                <a:gd name="connsiteX786" fmla="*/ 607199 w 1298190"/>
                <a:gd name="connsiteY786" fmla="*/ 759214 h 3657590"/>
                <a:gd name="connsiteX787" fmla="*/ 612863 w 1298190"/>
                <a:gd name="connsiteY787" fmla="*/ 759636 h 3657590"/>
                <a:gd name="connsiteX788" fmla="*/ 620521 w 1298190"/>
                <a:gd name="connsiteY788" fmla="*/ 758856 h 3657590"/>
                <a:gd name="connsiteX789" fmla="*/ 621448 w 1298190"/>
                <a:gd name="connsiteY789" fmla="*/ 758668 h 3657590"/>
                <a:gd name="connsiteX790" fmla="*/ 635583 w 1298190"/>
                <a:gd name="connsiteY790" fmla="*/ 752864 h 3657590"/>
                <a:gd name="connsiteX791" fmla="*/ 641781 w 1298190"/>
                <a:gd name="connsiteY791" fmla="*/ 748672 h 3657590"/>
                <a:gd name="connsiteX792" fmla="*/ 646543 w 1298190"/>
                <a:gd name="connsiteY792" fmla="*/ 744748 h 3657590"/>
                <a:gd name="connsiteX793" fmla="*/ 650569 w 1298190"/>
                <a:gd name="connsiteY793" fmla="*/ 740953 h 3657590"/>
                <a:gd name="connsiteX794" fmla="*/ 652436 w 1298190"/>
                <a:gd name="connsiteY794" fmla="*/ 739033 h 3657590"/>
                <a:gd name="connsiteX795" fmla="*/ 693444 w 1298190"/>
                <a:gd name="connsiteY795" fmla="*/ 663661 h 3657590"/>
                <a:gd name="connsiteX796" fmla="*/ 693711 w 1298190"/>
                <a:gd name="connsiteY796" fmla="*/ 661846 h 3657590"/>
                <a:gd name="connsiteX797" fmla="*/ 693711 w 1298190"/>
                <a:gd name="connsiteY797" fmla="*/ 48 h 365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</a:cxnLst>
              <a:rect l="l" t="t" r="r" b="b"/>
              <a:pathLst>
                <a:path w="1298190" h="3657590">
                  <a:moveTo>
                    <a:pt x="693711" y="48"/>
                  </a:moveTo>
                  <a:lnTo>
                    <a:pt x="681011" y="48"/>
                  </a:lnTo>
                  <a:lnTo>
                    <a:pt x="681011" y="660902"/>
                  </a:lnTo>
                  <a:cubicBezTo>
                    <a:pt x="680592" y="662302"/>
                    <a:pt x="680147" y="663696"/>
                    <a:pt x="679690" y="665095"/>
                  </a:cubicBezTo>
                  <a:cubicBezTo>
                    <a:pt x="679170" y="666667"/>
                    <a:pt x="678636" y="668245"/>
                    <a:pt x="678077" y="669818"/>
                  </a:cubicBezTo>
                  <a:cubicBezTo>
                    <a:pt x="677531" y="671330"/>
                    <a:pt x="676972" y="672844"/>
                    <a:pt x="676401" y="674352"/>
                  </a:cubicBezTo>
                  <a:cubicBezTo>
                    <a:pt x="675855" y="675801"/>
                    <a:pt x="675283" y="677248"/>
                    <a:pt x="674699" y="678682"/>
                  </a:cubicBezTo>
                  <a:cubicBezTo>
                    <a:pt x="674128" y="680082"/>
                    <a:pt x="673556" y="681466"/>
                    <a:pt x="672959" y="682835"/>
                  </a:cubicBezTo>
                  <a:cubicBezTo>
                    <a:pt x="672388" y="684184"/>
                    <a:pt x="671791" y="685503"/>
                    <a:pt x="671194" y="686824"/>
                  </a:cubicBezTo>
                  <a:cubicBezTo>
                    <a:pt x="670610" y="688108"/>
                    <a:pt x="670013" y="689378"/>
                    <a:pt x="669403" y="690648"/>
                  </a:cubicBezTo>
                  <a:cubicBezTo>
                    <a:pt x="668819" y="691864"/>
                    <a:pt x="668222" y="693084"/>
                    <a:pt x="667613" y="694289"/>
                  </a:cubicBezTo>
                  <a:cubicBezTo>
                    <a:pt x="667016" y="695475"/>
                    <a:pt x="666406" y="696641"/>
                    <a:pt x="665797" y="697797"/>
                  </a:cubicBezTo>
                  <a:cubicBezTo>
                    <a:pt x="665200" y="698929"/>
                    <a:pt x="664590" y="700045"/>
                    <a:pt x="663980" y="701151"/>
                  </a:cubicBezTo>
                  <a:cubicBezTo>
                    <a:pt x="663371" y="702242"/>
                    <a:pt x="662761" y="703324"/>
                    <a:pt x="662152" y="704376"/>
                  </a:cubicBezTo>
                  <a:cubicBezTo>
                    <a:pt x="661542" y="705417"/>
                    <a:pt x="660932" y="706458"/>
                    <a:pt x="660310" y="707476"/>
                  </a:cubicBezTo>
                  <a:cubicBezTo>
                    <a:pt x="659700" y="708464"/>
                    <a:pt x="659091" y="709456"/>
                    <a:pt x="658469" y="710432"/>
                  </a:cubicBezTo>
                  <a:cubicBezTo>
                    <a:pt x="657859" y="711385"/>
                    <a:pt x="657237" y="712337"/>
                    <a:pt x="656614" y="713281"/>
                  </a:cubicBezTo>
                  <a:cubicBezTo>
                    <a:pt x="656005" y="714193"/>
                    <a:pt x="655383" y="715096"/>
                    <a:pt x="654760" y="715993"/>
                  </a:cubicBezTo>
                  <a:cubicBezTo>
                    <a:pt x="654151" y="716872"/>
                    <a:pt x="653528" y="717750"/>
                    <a:pt x="652906" y="718598"/>
                  </a:cubicBezTo>
                  <a:cubicBezTo>
                    <a:pt x="652284" y="719436"/>
                    <a:pt x="651661" y="720266"/>
                    <a:pt x="651039" y="721089"/>
                  </a:cubicBezTo>
                  <a:cubicBezTo>
                    <a:pt x="650417" y="721888"/>
                    <a:pt x="649795" y="722691"/>
                    <a:pt x="649172" y="723465"/>
                  </a:cubicBezTo>
                  <a:cubicBezTo>
                    <a:pt x="648550" y="724224"/>
                    <a:pt x="647928" y="724974"/>
                    <a:pt x="647305" y="725722"/>
                  </a:cubicBezTo>
                  <a:cubicBezTo>
                    <a:pt x="646683" y="726461"/>
                    <a:pt x="646061" y="727171"/>
                    <a:pt x="645426" y="727886"/>
                  </a:cubicBezTo>
                  <a:cubicBezTo>
                    <a:pt x="644804" y="728579"/>
                    <a:pt x="644169" y="729269"/>
                    <a:pt x="643533" y="729939"/>
                  </a:cubicBezTo>
                  <a:cubicBezTo>
                    <a:pt x="633653" y="740407"/>
                    <a:pt x="623061" y="746936"/>
                    <a:pt x="612863" y="746936"/>
                  </a:cubicBezTo>
                  <a:cubicBezTo>
                    <a:pt x="585380" y="746936"/>
                    <a:pt x="561555" y="698586"/>
                    <a:pt x="553097" y="653094"/>
                  </a:cubicBezTo>
                  <a:lnTo>
                    <a:pt x="552056" y="647543"/>
                  </a:lnTo>
                  <a:lnTo>
                    <a:pt x="546430" y="647910"/>
                  </a:lnTo>
                  <a:cubicBezTo>
                    <a:pt x="491477" y="651541"/>
                    <a:pt x="437438" y="662872"/>
                    <a:pt x="385826" y="681580"/>
                  </a:cubicBezTo>
                  <a:lnTo>
                    <a:pt x="384772" y="681961"/>
                  </a:lnTo>
                  <a:lnTo>
                    <a:pt x="382968" y="682607"/>
                  </a:lnTo>
                  <a:lnTo>
                    <a:pt x="380504" y="683510"/>
                  </a:lnTo>
                  <a:lnTo>
                    <a:pt x="381660" y="688402"/>
                  </a:lnTo>
                  <a:lnTo>
                    <a:pt x="381800" y="689021"/>
                  </a:lnTo>
                  <a:cubicBezTo>
                    <a:pt x="382397" y="691497"/>
                    <a:pt x="382943" y="694002"/>
                    <a:pt x="383438" y="696542"/>
                  </a:cubicBezTo>
                  <a:cubicBezTo>
                    <a:pt x="383933" y="699028"/>
                    <a:pt x="384378" y="701533"/>
                    <a:pt x="384784" y="704058"/>
                  </a:cubicBezTo>
                  <a:cubicBezTo>
                    <a:pt x="385153" y="706385"/>
                    <a:pt x="385496" y="708722"/>
                    <a:pt x="385788" y="711067"/>
                  </a:cubicBezTo>
                  <a:cubicBezTo>
                    <a:pt x="386067" y="713266"/>
                    <a:pt x="386308" y="715463"/>
                    <a:pt x="386511" y="717661"/>
                  </a:cubicBezTo>
                  <a:cubicBezTo>
                    <a:pt x="386715" y="719754"/>
                    <a:pt x="386880" y="721838"/>
                    <a:pt x="387007" y="723907"/>
                  </a:cubicBezTo>
                  <a:cubicBezTo>
                    <a:pt x="387134" y="725891"/>
                    <a:pt x="387235" y="727870"/>
                    <a:pt x="387299" y="729825"/>
                  </a:cubicBezTo>
                  <a:cubicBezTo>
                    <a:pt x="387375" y="731720"/>
                    <a:pt x="387413" y="733610"/>
                    <a:pt x="387413" y="735480"/>
                  </a:cubicBezTo>
                  <a:cubicBezTo>
                    <a:pt x="387426" y="737281"/>
                    <a:pt x="387413" y="739072"/>
                    <a:pt x="387362" y="740849"/>
                  </a:cubicBezTo>
                  <a:cubicBezTo>
                    <a:pt x="387324" y="742564"/>
                    <a:pt x="387261" y="744281"/>
                    <a:pt x="387172" y="745968"/>
                  </a:cubicBezTo>
                  <a:cubicBezTo>
                    <a:pt x="387070" y="747605"/>
                    <a:pt x="386956" y="749232"/>
                    <a:pt x="386816" y="750845"/>
                  </a:cubicBezTo>
                  <a:cubicBezTo>
                    <a:pt x="386689" y="752407"/>
                    <a:pt x="386524" y="753955"/>
                    <a:pt x="386346" y="755493"/>
                  </a:cubicBezTo>
                  <a:cubicBezTo>
                    <a:pt x="386169" y="756992"/>
                    <a:pt x="385965" y="758465"/>
                    <a:pt x="385737" y="759923"/>
                  </a:cubicBezTo>
                  <a:cubicBezTo>
                    <a:pt x="385508" y="761346"/>
                    <a:pt x="385267" y="762756"/>
                    <a:pt x="385000" y="764130"/>
                  </a:cubicBezTo>
                  <a:cubicBezTo>
                    <a:pt x="384746" y="765489"/>
                    <a:pt x="384454" y="766824"/>
                    <a:pt x="384149" y="768128"/>
                  </a:cubicBezTo>
                  <a:cubicBezTo>
                    <a:pt x="383857" y="769413"/>
                    <a:pt x="383527" y="770668"/>
                    <a:pt x="383184" y="771914"/>
                  </a:cubicBezTo>
                  <a:cubicBezTo>
                    <a:pt x="382841" y="773119"/>
                    <a:pt x="382486" y="774314"/>
                    <a:pt x="382105" y="775485"/>
                  </a:cubicBezTo>
                  <a:cubicBezTo>
                    <a:pt x="381724" y="776626"/>
                    <a:pt x="381317" y="777757"/>
                    <a:pt x="380898" y="778834"/>
                  </a:cubicBezTo>
                  <a:cubicBezTo>
                    <a:pt x="380479" y="779915"/>
                    <a:pt x="380047" y="780967"/>
                    <a:pt x="379590" y="781984"/>
                  </a:cubicBezTo>
                  <a:cubicBezTo>
                    <a:pt x="379133" y="782986"/>
                    <a:pt x="378663" y="783969"/>
                    <a:pt x="378168" y="784906"/>
                  </a:cubicBezTo>
                  <a:cubicBezTo>
                    <a:pt x="377672" y="785833"/>
                    <a:pt x="377164" y="786736"/>
                    <a:pt x="376631" y="787600"/>
                  </a:cubicBezTo>
                  <a:cubicBezTo>
                    <a:pt x="376110" y="788463"/>
                    <a:pt x="375564" y="789286"/>
                    <a:pt x="374993" y="790075"/>
                  </a:cubicBezTo>
                  <a:cubicBezTo>
                    <a:pt x="374434" y="790850"/>
                    <a:pt x="373862" y="791599"/>
                    <a:pt x="373253" y="792313"/>
                  </a:cubicBezTo>
                  <a:cubicBezTo>
                    <a:pt x="371094" y="794878"/>
                    <a:pt x="368681" y="796971"/>
                    <a:pt x="365976" y="798519"/>
                  </a:cubicBezTo>
                  <a:cubicBezTo>
                    <a:pt x="361924" y="800870"/>
                    <a:pt x="357263" y="801952"/>
                    <a:pt x="352171" y="801952"/>
                  </a:cubicBezTo>
                  <a:cubicBezTo>
                    <a:pt x="327330" y="801952"/>
                    <a:pt x="292240" y="776318"/>
                    <a:pt x="267272" y="747149"/>
                  </a:cubicBezTo>
                  <a:lnTo>
                    <a:pt x="263601" y="742867"/>
                  </a:lnTo>
                  <a:lnTo>
                    <a:pt x="258915" y="746017"/>
                  </a:lnTo>
                  <a:cubicBezTo>
                    <a:pt x="227825" y="766884"/>
                    <a:pt x="198857" y="790646"/>
                    <a:pt x="172365" y="816948"/>
                  </a:cubicBezTo>
                  <a:cubicBezTo>
                    <a:pt x="159957" y="829267"/>
                    <a:pt x="148082" y="842145"/>
                    <a:pt x="136792" y="855555"/>
                  </a:cubicBezTo>
                  <a:lnTo>
                    <a:pt x="133147" y="859875"/>
                  </a:lnTo>
                  <a:lnTo>
                    <a:pt x="137033" y="864003"/>
                  </a:lnTo>
                  <a:cubicBezTo>
                    <a:pt x="141923" y="869182"/>
                    <a:pt x="146622" y="874743"/>
                    <a:pt x="151041" y="880523"/>
                  </a:cubicBezTo>
                  <a:cubicBezTo>
                    <a:pt x="152362" y="882264"/>
                    <a:pt x="153670" y="884031"/>
                    <a:pt x="154940" y="885806"/>
                  </a:cubicBezTo>
                  <a:cubicBezTo>
                    <a:pt x="156452" y="887914"/>
                    <a:pt x="157899" y="890038"/>
                    <a:pt x="159322" y="892181"/>
                  </a:cubicBezTo>
                  <a:cubicBezTo>
                    <a:pt x="160604" y="894126"/>
                    <a:pt x="161849" y="896096"/>
                    <a:pt x="163056" y="898050"/>
                  </a:cubicBezTo>
                  <a:cubicBezTo>
                    <a:pt x="164160" y="899866"/>
                    <a:pt x="165240" y="901696"/>
                    <a:pt x="166269" y="903521"/>
                  </a:cubicBezTo>
                  <a:cubicBezTo>
                    <a:pt x="167246" y="905238"/>
                    <a:pt x="168174" y="906955"/>
                    <a:pt x="169075" y="908666"/>
                  </a:cubicBezTo>
                  <a:cubicBezTo>
                    <a:pt x="169926" y="910293"/>
                    <a:pt x="170739" y="911931"/>
                    <a:pt x="171514" y="913543"/>
                  </a:cubicBezTo>
                  <a:cubicBezTo>
                    <a:pt x="172263" y="915096"/>
                    <a:pt x="172974" y="916643"/>
                    <a:pt x="173647" y="918191"/>
                  </a:cubicBezTo>
                  <a:cubicBezTo>
                    <a:pt x="174295" y="919679"/>
                    <a:pt x="174917" y="921153"/>
                    <a:pt x="175489" y="922626"/>
                  </a:cubicBezTo>
                  <a:cubicBezTo>
                    <a:pt x="176048" y="924046"/>
                    <a:pt x="176581" y="925459"/>
                    <a:pt x="177076" y="926854"/>
                  </a:cubicBezTo>
                  <a:cubicBezTo>
                    <a:pt x="177546" y="928213"/>
                    <a:pt x="177991" y="929571"/>
                    <a:pt x="178410" y="930906"/>
                  </a:cubicBezTo>
                  <a:cubicBezTo>
                    <a:pt x="178803" y="932211"/>
                    <a:pt x="179172" y="933511"/>
                    <a:pt x="179502" y="934791"/>
                  </a:cubicBezTo>
                  <a:cubicBezTo>
                    <a:pt x="179832" y="936051"/>
                    <a:pt x="180124" y="937280"/>
                    <a:pt x="180378" y="938511"/>
                  </a:cubicBezTo>
                  <a:cubicBezTo>
                    <a:pt x="180632" y="939716"/>
                    <a:pt x="180848" y="940897"/>
                    <a:pt x="181039" y="942083"/>
                  </a:cubicBezTo>
                  <a:cubicBezTo>
                    <a:pt x="181217" y="943224"/>
                    <a:pt x="181369" y="944366"/>
                    <a:pt x="181483" y="945486"/>
                  </a:cubicBezTo>
                  <a:cubicBezTo>
                    <a:pt x="181597" y="946588"/>
                    <a:pt x="181674" y="947684"/>
                    <a:pt x="181712" y="948751"/>
                  </a:cubicBezTo>
                  <a:cubicBezTo>
                    <a:pt x="181763" y="949802"/>
                    <a:pt x="181763" y="950844"/>
                    <a:pt x="181737" y="951861"/>
                  </a:cubicBezTo>
                  <a:cubicBezTo>
                    <a:pt x="181712" y="952878"/>
                    <a:pt x="181661" y="953865"/>
                    <a:pt x="181559" y="954833"/>
                  </a:cubicBezTo>
                  <a:cubicBezTo>
                    <a:pt x="181471" y="955796"/>
                    <a:pt x="181343" y="956738"/>
                    <a:pt x="181178" y="957665"/>
                  </a:cubicBezTo>
                  <a:cubicBezTo>
                    <a:pt x="181013" y="958578"/>
                    <a:pt x="180810" y="959466"/>
                    <a:pt x="180581" y="960345"/>
                  </a:cubicBezTo>
                  <a:cubicBezTo>
                    <a:pt x="180340" y="961207"/>
                    <a:pt x="180074" y="962045"/>
                    <a:pt x="179769" y="962869"/>
                  </a:cubicBezTo>
                  <a:cubicBezTo>
                    <a:pt x="179464" y="963684"/>
                    <a:pt x="179121" y="964472"/>
                    <a:pt x="178740" y="965246"/>
                  </a:cubicBezTo>
                  <a:cubicBezTo>
                    <a:pt x="178499" y="965727"/>
                    <a:pt x="178257" y="966198"/>
                    <a:pt x="177991" y="966654"/>
                  </a:cubicBezTo>
                  <a:cubicBezTo>
                    <a:pt x="177826" y="966937"/>
                    <a:pt x="177661" y="967200"/>
                    <a:pt x="177495" y="967468"/>
                  </a:cubicBezTo>
                  <a:cubicBezTo>
                    <a:pt x="177038" y="968192"/>
                    <a:pt x="176530" y="968892"/>
                    <a:pt x="175997" y="969552"/>
                  </a:cubicBezTo>
                  <a:cubicBezTo>
                    <a:pt x="168110" y="979330"/>
                    <a:pt x="151740" y="983586"/>
                    <a:pt x="132106" y="983586"/>
                  </a:cubicBezTo>
                  <a:cubicBezTo>
                    <a:pt x="111900" y="983586"/>
                    <a:pt x="88227" y="979086"/>
                    <a:pt x="66777" y="971481"/>
                  </a:cubicBezTo>
                  <a:lnTo>
                    <a:pt x="63069" y="970172"/>
                  </a:lnTo>
                  <a:lnTo>
                    <a:pt x="61456" y="969602"/>
                  </a:lnTo>
                  <a:lnTo>
                    <a:pt x="58967" y="974672"/>
                  </a:lnTo>
                  <a:cubicBezTo>
                    <a:pt x="34646" y="1024022"/>
                    <a:pt x="17489" y="1076500"/>
                    <a:pt x="7938" y="1130637"/>
                  </a:cubicBezTo>
                  <a:lnTo>
                    <a:pt x="6948" y="1136199"/>
                  </a:lnTo>
                  <a:lnTo>
                    <a:pt x="12370" y="1137827"/>
                  </a:lnTo>
                  <a:cubicBezTo>
                    <a:pt x="41390" y="1146512"/>
                    <a:pt x="71070" y="1162730"/>
                    <a:pt x="87122" y="1180560"/>
                  </a:cubicBezTo>
                  <a:cubicBezTo>
                    <a:pt x="87910" y="1181423"/>
                    <a:pt x="88672" y="1182301"/>
                    <a:pt x="89383" y="1183188"/>
                  </a:cubicBezTo>
                  <a:cubicBezTo>
                    <a:pt x="90082" y="1184042"/>
                    <a:pt x="90755" y="1184890"/>
                    <a:pt x="91377" y="1185754"/>
                  </a:cubicBezTo>
                  <a:cubicBezTo>
                    <a:pt x="91987" y="1186582"/>
                    <a:pt x="92558" y="1187406"/>
                    <a:pt x="93104" y="1188229"/>
                  </a:cubicBezTo>
                  <a:cubicBezTo>
                    <a:pt x="93625" y="1189033"/>
                    <a:pt x="94108" y="1189817"/>
                    <a:pt x="94577" y="1190621"/>
                  </a:cubicBezTo>
                  <a:cubicBezTo>
                    <a:pt x="95022" y="1191394"/>
                    <a:pt x="95441" y="1192169"/>
                    <a:pt x="95822" y="1192942"/>
                  </a:cubicBezTo>
                  <a:cubicBezTo>
                    <a:pt x="96190" y="1193707"/>
                    <a:pt x="96546" y="1194455"/>
                    <a:pt x="96863" y="1195219"/>
                  </a:cubicBezTo>
                  <a:cubicBezTo>
                    <a:pt x="97168" y="1195953"/>
                    <a:pt x="97448" y="1196687"/>
                    <a:pt x="97701" y="1197426"/>
                  </a:cubicBezTo>
                  <a:cubicBezTo>
                    <a:pt x="97943" y="1198152"/>
                    <a:pt x="98171" y="1198876"/>
                    <a:pt x="98349" y="1199586"/>
                  </a:cubicBezTo>
                  <a:cubicBezTo>
                    <a:pt x="98540" y="1200294"/>
                    <a:pt x="98692" y="1201009"/>
                    <a:pt x="98819" y="1201708"/>
                  </a:cubicBezTo>
                  <a:cubicBezTo>
                    <a:pt x="98946" y="1202402"/>
                    <a:pt x="99048" y="1203102"/>
                    <a:pt x="99124" y="1203802"/>
                  </a:cubicBezTo>
                  <a:cubicBezTo>
                    <a:pt x="99187" y="1204486"/>
                    <a:pt x="99226" y="1205161"/>
                    <a:pt x="99238" y="1205845"/>
                  </a:cubicBezTo>
                  <a:cubicBezTo>
                    <a:pt x="99238" y="1205985"/>
                    <a:pt x="99238" y="1206139"/>
                    <a:pt x="99238" y="1206277"/>
                  </a:cubicBezTo>
                  <a:cubicBezTo>
                    <a:pt x="99238" y="1206813"/>
                    <a:pt x="99226" y="1207344"/>
                    <a:pt x="99187" y="1207880"/>
                  </a:cubicBezTo>
                  <a:cubicBezTo>
                    <a:pt x="99137" y="1208554"/>
                    <a:pt x="99060" y="1209215"/>
                    <a:pt x="98946" y="1209884"/>
                  </a:cubicBezTo>
                  <a:cubicBezTo>
                    <a:pt x="98845" y="1210543"/>
                    <a:pt x="98705" y="1211209"/>
                    <a:pt x="98540" y="1211868"/>
                  </a:cubicBezTo>
                  <a:cubicBezTo>
                    <a:pt x="98375" y="1212528"/>
                    <a:pt x="98184" y="1213187"/>
                    <a:pt x="97968" y="1213847"/>
                  </a:cubicBezTo>
                  <a:cubicBezTo>
                    <a:pt x="97752" y="1214508"/>
                    <a:pt x="97498" y="1215157"/>
                    <a:pt x="97232" y="1215802"/>
                  </a:cubicBezTo>
                  <a:cubicBezTo>
                    <a:pt x="96965" y="1216452"/>
                    <a:pt x="96660" y="1217111"/>
                    <a:pt x="96330" y="1217757"/>
                  </a:cubicBezTo>
                  <a:cubicBezTo>
                    <a:pt x="96012" y="1218407"/>
                    <a:pt x="95657" y="1219057"/>
                    <a:pt x="95276" y="1219692"/>
                  </a:cubicBezTo>
                  <a:cubicBezTo>
                    <a:pt x="94907" y="1220336"/>
                    <a:pt x="94501" y="1220971"/>
                    <a:pt x="94082" y="1221606"/>
                  </a:cubicBezTo>
                  <a:cubicBezTo>
                    <a:pt x="93650" y="1222256"/>
                    <a:pt x="93193" y="1222891"/>
                    <a:pt x="92710" y="1223526"/>
                  </a:cubicBezTo>
                  <a:cubicBezTo>
                    <a:pt x="92241" y="1224161"/>
                    <a:pt x="91745" y="1224781"/>
                    <a:pt x="91225" y="1225416"/>
                  </a:cubicBezTo>
                  <a:cubicBezTo>
                    <a:pt x="90704" y="1226042"/>
                    <a:pt x="90158" y="1226662"/>
                    <a:pt x="89586" y="1227282"/>
                  </a:cubicBezTo>
                  <a:cubicBezTo>
                    <a:pt x="73330" y="1245067"/>
                    <a:pt x="38952" y="1259810"/>
                    <a:pt x="5436" y="1266016"/>
                  </a:cubicBezTo>
                  <a:lnTo>
                    <a:pt x="3836" y="1266310"/>
                  </a:lnTo>
                  <a:lnTo>
                    <a:pt x="-126" y="1267049"/>
                  </a:lnTo>
                  <a:lnTo>
                    <a:pt x="242" y="1272686"/>
                  </a:lnTo>
                  <a:cubicBezTo>
                    <a:pt x="3899" y="1327690"/>
                    <a:pt x="15215" y="1381728"/>
                    <a:pt x="33922" y="1433290"/>
                  </a:cubicBezTo>
                  <a:lnTo>
                    <a:pt x="35840" y="1438612"/>
                  </a:lnTo>
                  <a:lnTo>
                    <a:pt x="41352" y="1437303"/>
                  </a:lnTo>
                  <a:cubicBezTo>
                    <a:pt x="56693" y="1433671"/>
                    <a:pt x="73229" y="1431703"/>
                    <a:pt x="88761" y="1431703"/>
                  </a:cubicBezTo>
                  <a:cubicBezTo>
                    <a:pt x="117183" y="1431703"/>
                    <a:pt x="142278" y="1438256"/>
                    <a:pt x="150864" y="1453128"/>
                  </a:cubicBezTo>
                  <a:cubicBezTo>
                    <a:pt x="160808" y="1470362"/>
                    <a:pt x="147854" y="1498632"/>
                    <a:pt x="126607" y="1524336"/>
                  </a:cubicBezTo>
                  <a:cubicBezTo>
                    <a:pt x="126213" y="1524819"/>
                    <a:pt x="125806" y="1525289"/>
                    <a:pt x="125400" y="1525771"/>
                  </a:cubicBezTo>
                  <a:cubicBezTo>
                    <a:pt x="125260" y="1525937"/>
                    <a:pt x="125133" y="1526102"/>
                    <a:pt x="124994" y="1526254"/>
                  </a:cubicBezTo>
                  <a:cubicBezTo>
                    <a:pt x="124422" y="1526927"/>
                    <a:pt x="123851" y="1527600"/>
                    <a:pt x="123279" y="1528261"/>
                  </a:cubicBezTo>
                  <a:cubicBezTo>
                    <a:pt x="122695" y="1528921"/>
                    <a:pt x="122124" y="1529581"/>
                    <a:pt x="121539" y="1530229"/>
                  </a:cubicBezTo>
                  <a:cubicBezTo>
                    <a:pt x="120955" y="1530902"/>
                    <a:pt x="120358" y="1531563"/>
                    <a:pt x="119749" y="1532223"/>
                  </a:cubicBezTo>
                  <a:cubicBezTo>
                    <a:pt x="119164" y="1532871"/>
                    <a:pt x="118568" y="1533506"/>
                    <a:pt x="117971" y="1534141"/>
                  </a:cubicBezTo>
                  <a:cubicBezTo>
                    <a:pt x="117361" y="1534801"/>
                    <a:pt x="116739" y="1535462"/>
                    <a:pt x="116116" y="1536109"/>
                  </a:cubicBezTo>
                  <a:cubicBezTo>
                    <a:pt x="115494" y="1536757"/>
                    <a:pt x="114872" y="1537405"/>
                    <a:pt x="114250" y="1538052"/>
                  </a:cubicBezTo>
                  <a:cubicBezTo>
                    <a:pt x="109513" y="1542891"/>
                    <a:pt x="104560" y="1547526"/>
                    <a:pt x="99492" y="1551870"/>
                  </a:cubicBezTo>
                  <a:lnTo>
                    <a:pt x="99187" y="1552124"/>
                  </a:lnTo>
                  <a:lnTo>
                    <a:pt x="95200" y="1555540"/>
                  </a:lnTo>
                  <a:lnTo>
                    <a:pt x="98349" y="1560226"/>
                  </a:lnTo>
                  <a:cubicBezTo>
                    <a:pt x="128931" y="1605794"/>
                    <a:pt x="165799" y="1646866"/>
                    <a:pt x="207899" y="1682311"/>
                  </a:cubicBezTo>
                  <a:lnTo>
                    <a:pt x="212217" y="1685956"/>
                  </a:lnTo>
                  <a:lnTo>
                    <a:pt x="216332" y="1682083"/>
                  </a:lnTo>
                  <a:cubicBezTo>
                    <a:pt x="242456" y="1657495"/>
                    <a:pt x="278168" y="1637341"/>
                    <a:pt x="303085" y="1637341"/>
                  </a:cubicBezTo>
                  <a:cubicBezTo>
                    <a:pt x="309118" y="1637341"/>
                    <a:pt x="314515" y="1638522"/>
                    <a:pt x="318998" y="1641113"/>
                  </a:cubicBezTo>
                  <a:cubicBezTo>
                    <a:pt x="342011" y="1654384"/>
                    <a:pt x="339509" y="1708092"/>
                    <a:pt x="323786" y="1752352"/>
                  </a:cubicBezTo>
                  <a:lnTo>
                    <a:pt x="321907" y="1757686"/>
                  </a:lnTo>
                  <a:lnTo>
                    <a:pt x="326974" y="1760175"/>
                  </a:lnTo>
                  <a:cubicBezTo>
                    <a:pt x="376326" y="1784483"/>
                    <a:pt x="428815" y="1801653"/>
                    <a:pt x="482968" y="1811203"/>
                  </a:cubicBezTo>
                  <a:lnTo>
                    <a:pt x="488543" y="1812181"/>
                  </a:lnTo>
                  <a:lnTo>
                    <a:pt x="489800" y="1807990"/>
                  </a:lnTo>
                  <a:lnTo>
                    <a:pt x="490169" y="1806771"/>
                  </a:lnTo>
                  <a:cubicBezTo>
                    <a:pt x="498652" y="1778425"/>
                    <a:pt x="514311" y="1749418"/>
                    <a:pt x="531647" y="1733124"/>
                  </a:cubicBezTo>
                  <a:cubicBezTo>
                    <a:pt x="532282" y="1732540"/>
                    <a:pt x="532904" y="1731968"/>
                    <a:pt x="533526" y="1731409"/>
                  </a:cubicBezTo>
                  <a:cubicBezTo>
                    <a:pt x="534149" y="1730863"/>
                    <a:pt x="534771" y="1730330"/>
                    <a:pt x="535406" y="1729822"/>
                  </a:cubicBezTo>
                  <a:cubicBezTo>
                    <a:pt x="536028" y="1729301"/>
                    <a:pt x="536663" y="1728806"/>
                    <a:pt x="537286" y="1728323"/>
                  </a:cubicBezTo>
                  <a:cubicBezTo>
                    <a:pt x="537921" y="1727853"/>
                    <a:pt x="538543" y="1727396"/>
                    <a:pt x="539178" y="1726952"/>
                  </a:cubicBezTo>
                  <a:cubicBezTo>
                    <a:pt x="539800" y="1726507"/>
                    <a:pt x="540435" y="1726088"/>
                    <a:pt x="541057" y="1725682"/>
                  </a:cubicBezTo>
                  <a:cubicBezTo>
                    <a:pt x="541692" y="1725288"/>
                    <a:pt x="542328" y="1724894"/>
                    <a:pt x="542962" y="1724539"/>
                  </a:cubicBezTo>
                  <a:cubicBezTo>
                    <a:pt x="543585" y="1724170"/>
                    <a:pt x="544220" y="1723827"/>
                    <a:pt x="544855" y="1723497"/>
                  </a:cubicBezTo>
                  <a:cubicBezTo>
                    <a:pt x="545490" y="1723180"/>
                    <a:pt x="546125" y="1722875"/>
                    <a:pt x="546760" y="1722583"/>
                  </a:cubicBezTo>
                  <a:cubicBezTo>
                    <a:pt x="547395" y="1722303"/>
                    <a:pt x="548030" y="1722037"/>
                    <a:pt x="548665" y="1721795"/>
                  </a:cubicBezTo>
                  <a:cubicBezTo>
                    <a:pt x="549300" y="1721554"/>
                    <a:pt x="549947" y="1721338"/>
                    <a:pt x="550582" y="1721135"/>
                  </a:cubicBezTo>
                  <a:cubicBezTo>
                    <a:pt x="551217" y="1720932"/>
                    <a:pt x="551865" y="1720767"/>
                    <a:pt x="552500" y="1720602"/>
                  </a:cubicBezTo>
                  <a:cubicBezTo>
                    <a:pt x="553148" y="1720449"/>
                    <a:pt x="553796" y="1720322"/>
                    <a:pt x="554443" y="1720208"/>
                  </a:cubicBezTo>
                  <a:cubicBezTo>
                    <a:pt x="555078" y="1720106"/>
                    <a:pt x="555726" y="1720017"/>
                    <a:pt x="556374" y="1719967"/>
                  </a:cubicBezTo>
                  <a:cubicBezTo>
                    <a:pt x="557021" y="1719903"/>
                    <a:pt x="557682" y="1719865"/>
                    <a:pt x="558329" y="1719865"/>
                  </a:cubicBezTo>
                  <a:cubicBezTo>
                    <a:pt x="558418" y="1719865"/>
                    <a:pt x="558507" y="1719865"/>
                    <a:pt x="558583" y="1719865"/>
                  </a:cubicBezTo>
                  <a:cubicBezTo>
                    <a:pt x="559155" y="1719865"/>
                    <a:pt x="559726" y="1719878"/>
                    <a:pt x="560298" y="1719929"/>
                  </a:cubicBezTo>
                  <a:cubicBezTo>
                    <a:pt x="560958" y="1719979"/>
                    <a:pt x="561619" y="1720056"/>
                    <a:pt x="562279" y="1720170"/>
                  </a:cubicBezTo>
                  <a:cubicBezTo>
                    <a:pt x="562952" y="1720284"/>
                    <a:pt x="563625" y="1720424"/>
                    <a:pt x="564286" y="1720589"/>
                  </a:cubicBezTo>
                  <a:cubicBezTo>
                    <a:pt x="564971" y="1720754"/>
                    <a:pt x="565645" y="1720957"/>
                    <a:pt x="566318" y="1721186"/>
                  </a:cubicBezTo>
                  <a:cubicBezTo>
                    <a:pt x="567016" y="1721427"/>
                    <a:pt x="567715" y="1721694"/>
                    <a:pt x="568400" y="1721999"/>
                  </a:cubicBezTo>
                  <a:cubicBezTo>
                    <a:pt x="569112" y="1722303"/>
                    <a:pt x="569823" y="1722634"/>
                    <a:pt x="570521" y="1723002"/>
                  </a:cubicBezTo>
                  <a:cubicBezTo>
                    <a:pt x="571258" y="1723383"/>
                    <a:pt x="571982" y="1723802"/>
                    <a:pt x="572706" y="1724247"/>
                  </a:cubicBezTo>
                  <a:cubicBezTo>
                    <a:pt x="573442" y="1724704"/>
                    <a:pt x="574179" y="1725186"/>
                    <a:pt x="574903" y="1725707"/>
                  </a:cubicBezTo>
                  <a:cubicBezTo>
                    <a:pt x="594766" y="1739817"/>
                    <a:pt x="611606" y="1777256"/>
                    <a:pt x="618349" y="1813705"/>
                  </a:cubicBezTo>
                  <a:lnTo>
                    <a:pt x="619378" y="1819255"/>
                  </a:lnTo>
                  <a:lnTo>
                    <a:pt x="625017" y="1818887"/>
                  </a:lnTo>
                  <a:cubicBezTo>
                    <a:pt x="679932" y="1815254"/>
                    <a:pt x="733957" y="1803951"/>
                    <a:pt x="785621" y="1785257"/>
                  </a:cubicBezTo>
                  <a:lnTo>
                    <a:pt x="790942" y="1783327"/>
                  </a:lnTo>
                  <a:lnTo>
                    <a:pt x="790421" y="1781130"/>
                  </a:lnTo>
                  <a:lnTo>
                    <a:pt x="789647" y="1777828"/>
                  </a:lnTo>
                  <a:cubicBezTo>
                    <a:pt x="779918" y="1736718"/>
                    <a:pt x="782166" y="1687188"/>
                    <a:pt x="801927" y="1670742"/>
                  </a:cubicBezTo>
                  <a:cubicBezTo>
                    <a:pt x="802588" y="1670195"/>
                    <a:pt x="803261" y="1669688"/>
                    <a:pt x="803960" y="1669218"/>
                  </a:cubicBezTo>
                  <a:cubicBezTo>
                    <a:pt x="804455" y="1668887"/>
                    <a:pt x="804950" y="1668570"/>
                    <a:pt x="805471" y="1668278"/>
                  </a:cubicBezTo>
                  <a:cubicBezTo>
                    <a:pt x="805674" y="1668151"/>
                    <a:pt x="805877" y="1668036"/>
                    <a:pt x="806080" y="1667935"/>
                  </a:cubicBezTo>
                  <a:cubicBezTo>
                    <a:pt x="806804" y="1667541"/>
                    <a:pt x="807541" y="1667198"/>
                    <a:pt x="808303" y="1666881"/>
                  </a:cubicBezTo>
                  <a:cubicBezTo>
                    <a:pt x="809065" y="1666563"/>
                    <a:pt x="809840" y="1666297"/>
                    <a:pt x="810640" y="1666055"/>
                  </a:cubicBezTo>
                  <a:cubicBezTo>
                    <a:pt x="811427" y="1665814"/>
                    <a:pt x="812240" y="1665611"/>
                    <a:pt x="813078" y="1665446"/>
                  </a:cubicBezTo>
                  <a:cubicBezTo>
                    <a:pt x="813916" y="1665281"/>
                    <a:pt x="814767" y="1665154"/>
                    <a:pt x="815631" y="1665065"/>
                  </a:cubicBezTo>
                  <a:cubicBezTo>
                    <a:pt x="816507" y="1664963"/>
                    <a:pt x="817396" y="1664912"/>
                    <a:pt x="818298" y="1664887"/>
                  </a:cubicBezTo>
                  <a:cubicBezTo>
                    <a:pt x="818603" y="1664874"/>
                    <a:pt x="818920" y="1664874"/>
                    <a:pt x="819225" y="1664874"/>
                  </a:cubicBezTo>
                  <a:cubicBezTo>
                    <a:pt x="819834" y="1664874"/>
                    <a:pt x="820457" y="1664887"/>
                    <a:pt x="821079" y="1664912"/>
                  </a:cubicBezTo>
                  <a:cubicBezTo>
                    <a:pt x="822031" y="1664963"/>
                    <a:pt x="823009" y="1665052"/>
                    <a:pt x="823987" y="1665166"/>
                  </a:cubicBezTo>
                  <a:cubicBezTo>
                    <a:pt x="824978" y="1665281"/>
                    <a:pt x="825981" y="1665433"/>
                    <a:pt x="827010" y="1665623"/>
                  </a:cubicBezTo>
                  <a:cubicBezTo>
                    <a:pt x="828039" y="1665814"/>
                    <a:pt x="829093" y="1666043"/>
                    <a:pt x="830160" y="1666309"/>
                  </a:cubicBezTo>
                  <a:cubicBezTo>
                    <a:pt x="831239" y="1666576"/>
                    <a:pt x="832331" y="1666868"/>
                    <a:pt x="833436" y="1667211"/>
                  </a:cubicBezTo>
                  <a:cubicBezTo>
                    <a:pt x="834554" y="1667554"/>
                    <a:pt x="835697" y="1667922"/>
                    <a:pt x="836840" y="1668341"/>
                  </a:cubicBezTo>
                  <a:cubicBezTo>
                    <a:pt x="838008" y="1668760"/>
                    <a:pt x="839202" y="1669218"/>
                    <a:pt x="840396" y="1669700"/>
                  </a:cubicBezTo>
                  <a:cubicBezTo>
                    <a:pt x="841615" y="1670208"/>
                    <a:pt x="842847" y="1670754"/>
                    <a:pt x="844091" y="1671326"/>
                  </a:cubicBezTo>
                  <a:cubicBezTo>
                    <a:pt x="845374" y="1671910"/>
                    <a:pt x="846657" y="1672545"/>
                    <a:pt x="847965" y="1673205"/>
                  </a:cubicBezTo>
                  <a:cubicBezTo>
                    <a:pt x="849298" y="1673891"/>
                    <a:pt x="850657" y="1674628"/>
                    <a:pt x="852016" y="1675390"/>
                  </a:cubicBezTo>
                  <a:cubicBezTo>
                    <a:pt x="853426" y="1676177"/>
                    <a:pt x="854836" y="1677003"/>
                    <a:pt x="856245" y="1677866"/>
                  </a:cubicBezTo>
                  <a:cubicBezTo>
                    <a:pt x="857744" y="1678781"/>
                    <a:pt x="859242" y="1679733"/>
                    <a:pt x="860728" y="1680711"/>
                  </a:cubicBezTo>
                  <a:cubicBezTo>
                    <a:pt x="862316" y="1681765"/>
                    <a:pt x="863903" y="1682845"/>
                    <a:pt x="865478" y="1683962"/>
                  </a:cubicBezTo>
                  <a:cubicBezTo>
                    <a:pt x="867180" y="1685181"/>
                    <a:pt x="868882" y="1686426"/>
                    <a:pt x="870571" y="1687721"/>
                  </a:cubicBezTo>
                  <a:cubicBezTo>
                    <a:pt x="872425" y="1689144"/>
                    <a:pt x="874279" y="1690604"/>
                    <a:pt x="876108" y="1692103"/>
                  </a:cubicBezTo>
                  <a:cubicBezTo>
                    <a:pt x="876921" y="1692776"/>
                    <a:pt x="877746" y="1693462"/>
                    <a:pt x="878559" y="1694148"/>
                  </a:cubicBezTo>
                  <a:cubicBezTo>
                    <a:pt x="887081" y="1701374"/>
                    <a:pt x="895285" y="1709489"/>
                    <a:pt x="902664" y="1717935"/>
                  </a:cubicBezTo>
                  <a:lnTo>
                    <a:pt x="903108" y="1770627"/>
                  </a:lnTo>
                  <a:lnTo>
                    <a:pt x="903108" y="1772100"/>
                  </a:lnTo>
                  <a:lnTo>
                    <a:pt x="903121" y="1772621"/>
                  </a:lnTo>
                  <a:lnTo>
                    <a:pt x="903121" y="1773230"/>
                  </a:lnTo>
                  <a:lnTo>
                    <a:pt x="903133" y="1773891"/>
                  </a:lnTo>
                  <a:lnTo>
                    <a:pt x="903133" y="1774627"/>
                  </a:lnTo>
                  <a:lnTo>
                    <a:pt x="903146" y="1775440"/>
                  </a:lnTo>
                  <a:lnTo>
                    <a:pt x="903146" y="1776304"/>
                  </a:lnTo>
                  <a:lnTo>
                    <a:pt x="903159" y="1777243"/>
                  </a:lnTo>
                  <a:lnTo>
                    <a:pt x="903159" y="1778247"/>
                  </a:lnTo>
                  <a:lnTo>
                    <a:pt x="903172" y="1779301"/>
                  </a:lnTo>
                  <a:lnTo>
                    <a:pt x="903184" y="1780418"/>
                  </a:lnTo>
                  <a:lnTo>
                    <a:pt x="903197" y="1781600"/>
                  </a:lnTo>
                  <a:lnTo>
                    <a:pt x="903197" y="1782819"/>
                  </a:lnTo>
                  <a:lnTo>
                    <a:pt x="903235" y="1786857"/>
                  </a:lnTo>
                  <a:lnTo>
                    <a:pt x="903299" y="1795062"/>
                  </a:lnTo>
                  <a:lnTo>
                    <a:pt x="903375" y="1803024"/>
                  </a:lnTo>
                  <a:lnTo>
                    <a:pt x="903438" y="1810759"/>
                  </a:lnTo>
                  <a:lnTo>
                    <a:pt x="903502" y="1818265"/>
                  </a:lnTo>
                  <a:lnTo>
                    <a:pt x="903553" y="1825554"/>
                  </a:lnTo>
                  <a:lnTo>
                    <a:pt x="903616" y="1832628"/>
                  </a:lnTo>
                  <a:lnTo>
                    <a:pt x="903629" y="1834558"/>
                  </a:lnTo>
                  <a:cubicBezTo>
                    <a:pt x="903642" y="1836083"/>
                    <a:pt x="903642" y="1837721"/>
                    <a:pt x="903654" y="1839448"/>
                  </a:cubicBezTo>
                  <a:cubicBezTo>
                    <a:pt x="903654" y="1841505"/>
                    <a:pt x="903642" y="1843702"/>
                    <a:pt x="903629" y="1846001"/>
                  </a:cubicBezTo>
                  <a:cubicBezTo>
                    <a:pt x="903603" y="1848020"/>
                    <a:pt x="903565" y="1850116"/>
                    <a:pt x="903514" y="1852262"/>
                  </a:cubicBezTo>
                  <a:cubicBezTo>
                    <a:pt x="903464" y="1854218"/>
                    <a:pt x="903400" y="1856212"/>
                    <a:pt x="903311" y="1858231"/>
                  </a:cubicBezTo>
                  <a:cubicBezTo>
                    <a:pt x="903235" y="1860111"/>
                    <a:pt x="903133" y="1862003"/>
                    <a:pt x="903007" y="1863908"/>
                  </a:cubicBezTo>
                  <a:cubicBezTo>
                    <a:pt x="902892" y="1865699"/>
                    <a:pt x="902752" y="1867489"/>
                    <a:pt x="902587" y="1869267"/>
                  </a:cubicBezTo>
                  <a:cubicBezTo>
                    <a:pt x="902435" y="1870969"/>
                    <a:pt x="902257" y="1872658"/>
                    <a:pt x="902067" y="1874335"/>
                  </a:cubicBezTo>
                  <a:cubicBezTo>
                    <a:pt x="901876" y="1875935"/>
                    <a:pt x="901660" y="1877522"/>
                    <a:pt x="901419" y="1879084"/>
                  </a:cubicBezTo>
                  <a:cubicBezTo>
                    <a:pt x="901190" y="1880596"/>
                    <a:pt x="900936" y="1882082"/>
                    <a:pt x="900657" y="1883530"/>
                  </a:cubicBezTo>
                  <a:cubicBezTo>
                    <a:pt x="900390" y="1884939"/>
                    <a:pt x="900098" y="1886324"/>
                    <a:pt x="899781" y="1887670"/>
                  </a:cubicBezTo>
                  <a:cubicBezTo>
                    <a:pt x="899463" y="1888978"/>
                    <a:pt x="899133" y="1890248"/>
                    <a:pt x="898765" y="1891480"/>
                  </a:cubicBezTo>
                  <a:cubicBezTo>
                    <a:pt x="898409" y="1892674"/>
                    <a:pt x="898028" y="1893842"/>
                    <a:pt x="897622" y="1894959"/>
                  </a:cubicBezTo>
                  <a:cubicBezTo>
                    <a:pt x="897228" y="1896052"/>
                    <a:pt x="896796" y="1897106"/>
                    <a:pt x="896339" y="1898109"/>
                  </a:cubicBezTo>
                  <a:cubicBezTo>
                    <a:pt x="895882" y="1899100"/>
                    <a:pt x="895412" y="1900052"/>
                    <a:pt x="894904" y="1900941"/>
                  </a:cubicBezTo>
                  <a:cubicBezTo>
                    <a:pt x="894383" y="1901830"/>
                    <a:pt x="893837" y="1902681"/>
                    <a:pt x="893253" y="1903456"/>
                  </a:cubicBezTo>
                  <a:cubicBezTo>
                    <a:pt x="891869" y="1905323"/>
                    <a:pt x="890281" y="1906834"/>
                    <a:pt x="888490" y="1907863"/>
                  </a:cubicBezTo>
                  <a:cubicBezTo>
                    <a:pt x="885658" y="1909514"/>
                    <a:pt x="882496" y="1910263"/>
                    <a:pt x="879118" y="1910263"/>
                  </a:cubicBezTo>
                  <a:cubicBezTo>
                    <a:pt x="861986" y="1910263"/>
                    <a:pt x="839113" y="1890972"/>
                    <a:pt x="822806" y="1871922"/>
                  </a:cubicBezTo>
                  <a:lnTo>
                    <a:pt x="819123" y="1867629"/>
                  </a:lnTo>
                  <a:lnTo>
                    <a:pt x="814437" y="1870779"/>
                  </a:lnTo>
                  <a:cubicBezTo>
                    <a:pt x="791780" y="1885993"/>
                    <a:pt x="770647" y="1903291"/>
                    <a:pt x="751306" y="1922430"/>
                  </a:cubicBezTo>
                  <a:cubicBezTo>
                    <a:pt x="741984" y="1931650"/>
                    <a:pt x="733081" y="1941302"/>
                    <a:pt x="724623" y="1951360"/>
                  </a:cubicBezTo>
                  <a:lnTo>
                    <a:pt x="720965" y="1955691"/>
                  </a:lnTo>
                  <a:lnTo>
                    <a:pt x="724851" y="1959806"/>
                  </a:lnTo>
                  <a:cubicBezTo>
                    <a:pt x="727899" y="1963031"/>
                    <a:pt x="730859" y="1966486"/>
                    <a:pt x="733678" y="1970105"/>
                  </a:cubicBezTo>
                  <a:cubicBezTo>
                    <a:pt x="735418" y="1972328"/>
                    <a:pt x="737094" y="1974614"/>
                    <a:pt x="738707" y="1976938"/>
                  </a:cubicBezTo>
                  <a:cubicBezTo>
                    <a:pt x="740104" y="1978944"/>
                    <a:pt x="741450" y="1980976"/>
                    <a:pt x="742733" y="1983034"/>
                  </a:cubicBezTo>
                  <a:cubicBezTo>
                    <a:pt x="743876" y="1984863"/>
                    <a:pt x="744968" y="1986704"/>
                    <a:pt x="746010" y="1988546"/>
                  </a:cubicBezTo>
                  <a:cubicBezTo>
                    <a:pt x="746962" y="1990235"/>
                    <a:pt x="747864" y="1991936"/>
                    <a:pt x="748727" y="1993626"/>
                  </a:cubicBezTo>
                  <a:cubicBezTo>
                    <a:pt x="749515" y="1995213"/>
                    <a:pt x="750277" y="1996788"/>
                    <a:pt x="750975" y="1998363"/>
                  </a:cubicBezTo>
                  <a:cubicBezTo>
                    <a:pt x="751636" y="1999849"/>
                    <a:pt x="752258" y="2001334"/>
                    <a:pt x="752829" y="2002795"/>
                  </a:cubicBezTo>
                  <a:cubicBezTo>
                    <a:pt x="753376" y="2004205"/>
                    <a:pt x="753871" y="2005589"/>
                    <a:pt x="754328" y="2006960"/>
                  </a:cubicBezTo>
                  <a:cubicBezTo>
                    <a:pt x="754760" y="2008281"/>
                    <a:pt x="755141" y="2009589"/>
                    <a:pt x="755484" y="2010872"/>
                  </a:cubicBezTo>
                  <a:cubicBezTo>
                    <a:pt x="755814" y="2012130"/>
                    <a:pt x="756093" y="2013361"/>
                    <a:pt x="756335" y="2014568"/>
                  </a:cubicBezTo>
                  <a:cubicBezTo>
                    <a:pt x="756563" y="2015749"/>
                    <a:pt x="756741" y="2016905"/>
                    <a:pt x="756868" y="2018035"/>
                  </a:cubicBezTo>
                  <a:cubicBezTo>
                    <a:pt x="757008" y="2019140"/>
                    <a:pt x="757084" y="2020232"/>
                    <a:pt x="757122" y="2021286"/>
                  </a:cubicBezTo>
                  <a:cubicBezTo>
                    <a:pt x="757147" y="2022328"/>
                    <a:pt x="757135" y="2023344"/>
                    <a:pt x="757071" y="2024334"/>
                  </a:cubicBezTo>
                  <a:cubicBezTo>
                    <a:pt x="756995" y="2025299"/>
                    <a:pt x="756881" y="2026252"/>
                    <a:pt x="756716" y="2027154"/>
                  </a:cubicBezTo>
                  <a:cubicBezTo>
                    <a:pt x="756551" y="2028055"/>
                    <a:pt x="756322" y="2028932"/>
                    <a:pt x="756055" y="2029770"/>
                  </a:cubicBezTo>
                  <a:cubicBezTo>
                    <a:pt x="755776" y="2030608"/>
                    <a:pt x="755458" y="2031408"/>
                    <a:pt x="755077" y="2032170"/>
                  </a:cubicBezTo>
                  <a:cubicBezTo>
                    <a:pt x="754925" y="2032449"/>
                    <a:pt x="754773" y="2032729"/>
                    <a:pt x="754620" y="2033008"/>
                  </a:cubicBezTo>
                  <a:cubicBezTo>
                    <a:pt x="754353" y="2033465"/>
                    <a:pt x="754061" y="2033923"/>
                    <a:pt x="753744" y="2034354"/>
                  </a:cubicBezTo>
                  <a:cubicBezTo>
                    <a:pt x="748524" y="2041543"/>
                    <a:pt x="736878" y="2044667"/>
                    <a:pt x="722731" y="2044667"/>
                  </a:cubicBezTo>
                  <a:cubicBezTo>
                    <a:pt x="708125" y="2044667"/>
                    <a:pt x="690854" y="2041352"/>
                    <a:pt x="675182" y="2035789"/>
                  </a:cubicBezTo>
                  <a:lnTo>
                    <a:pt x="671486" y="2034481"/>
                  </a:lnTo>
                  <a:lnTo>
                    <a:pt x="669860" y="2033897"/>
                  </a:lnTo>
                  <a:lnTo>
                    <a:pt x="667359" y="2038977"/>
                  </a:lnTo>
                  <a:cubicBezTo>
                    <a:pt x="649477" y="2075286"/>
                    <a:pt x="636841" y="2113894"/>
                    <a:pt x="629830" y="2153709"/>
                  </a:cubicBezTo>
                  <a:lnTo>
                    <a:pt x="628840" y="2159284"/>
                  </a:lnTo>
                  <a:lnTo>
                    <a:pt x="634250" y="2160897"/>
                  </a:lnTo>
                  <a:cubicBezTo>
                    <a:pt x="654621" y="2166993"/>
                    <a:pt x="676071" y="2178652"/>
                    <a:pt x="687780" y="2191275"/>
                  </a:cubicBezTo>
                  <a:cubicBezTo>
                    <a:pt x="687907" y="2191415"/>
                    <a:pt x="688047" y="2191567"/>
                    <a:pt x="688174" y="2191707"/>
                  </a:cubicBezTo>
                  <a:cubicBezTo>
                    <a:pt x="688949" y="2192571"/>
                    <a:pt x="689685" y="2193422"/>
                    <a:pt x="690371" y="2194285"/>
                  </a:cubicBezTo>
                  <a:cubicBezTo>
                    <a:pt x="691006" y="2195098"/>
                    <a:pt x="691615" y="2195911"/>
                    <a:pt x="692162" y="2196736"/>
                  </a:cubicBezTo>
                  <a:cubicBezTo>
                    <a:pt x="692695" y="2197511"/>
                    <a:pt x="693190" y="2198286"/>
                    <a:pt x="693622" y="2199073"/>
                  </a:cubicBezTo>
                  <a:cubicBezTo>
                    <a:pt x="694054" y="2199822"/>
                    <a:pt x="694435" y="2200572"/>
                    <a:pt x="694778" y="2201321"/>
                  </a:cubicBezTo>
                  <a:cubicBezTo>
                    <a:pt x="695108" y="2202045"/>
                    <a:pt x="695400" y="2202781"/>
                    <a:pt x="695654" y="2203505"/>
                  </a:cubicBezTo>
                  <a:cubicBezTo>
                    <a:pt x="695895" y="2204204"/>
                    <a:pt x="696099" y="2204915"/>
                    <a:pt x="696264" y="2205614"/>
                  </a:cubicBezTo>
                  <a:cubicBezTo>
                    <a:pt x="696416" y="2206312"/>
                    <a:pt x="696530" y="2206998"/>
                    <a:pt x="696607" y="2207684"/>
                  </a:cubicBezTo>
                  <a:cubicBezTo>
                    <a:pt x="696670" y="2208268"/>
                    <a:pt x="696696" y="2208852"/>
                    <a:pt x="696696" y="2209436"/>
                  </a:cubicBezTo>
                  <a:cubicBezTo>
                    <a:pt x="696696" y="2209525"/>
                    <a:pt x="696696" y="2209614"/>
                    <a:pt x="696696" y="2209703"/>
                  </a:cubicBezTo>
                  <a:cubicBezTo>
                    <a:pt x="696683" y="2210363"/>
                    <a:pt x="696632" y="2211036"/>
                    <a:pt x="696530" y="2211697"/>
                  </a:cubicBezTo>
                  <a:cubicBezTo>
                    <a:pt x="696429" y="2212357"/>
                    <a:pt x="696289" y="2213018"/>
                    <a:pt x="696111" y="2213665"/>
                  </a:cubicBezTo>
                  <a:cubicBezTo>
                    <a:pt x="695934" y="2214326"/>
                    <a:pt x="695718" y="2214973"/>
                    <a:pt x="695451" y="2215621"/>
                  </a:cubicBezTo>
                  <a:cubicBezTo>
                    <a:pt x="695197" y="2216269"/>
                    <a:pt x="694892" y="2216917"/>
                    <a:pt x="694562" y="2217564"/>
                  </a:cubicBezTo>
                  <a:cubicBezTo>
                    <a:pt x="694232" y="2218199"/>
                    <a:pt x="693851" y="2218847"/>
                    <a:pt x="693444" y="2219482"/>
                  </a:cubicBezTo>
                  <a:cubicBezTo>
                    <a:pt x="693038" y="2220117"/>
                    <a:pt x="692594" y="2220752"/>
                    <a:pt x="692111" y="2221387"/>
                  </a:cubicBezTo>
                  <a:cubicBezTo>
                    <a:pt x="691628" y="2222022"/>
                    <a:pt x="691120" y="2222644"/>
                    <a:pt x="690574" y="2223267"/>
                  </a:cubicBezTo>
                  <a:cubicBezTo>
                    <a:pt x="679259" y="2236144"/>
                    <a:pt x="653986" y="2246965"/>
                    <a:pt x="629360" y="2251524"/>
                  </a:cubicBezTo>
                  <a:lnTo>
                    <a:pt x="627760" y="2251829"/>
                  </a:lnTo>
                  <a:lnTo>
                    <a:pt x="623798" y="2252565"/>
                  </a:lnTo>
                  <a:lnTo>
                    <a:pt x="624166" y="2258191"/>
                  </a:lnTo>
                  <a:cubicBezTo>
                    <a:pt x="626833" y="2298653"/>
                    <a:pt x="635177" y="2338404"/>
                    <a:pt x="648944" y="2376339"/>
                  </a:cubicBezTo>
                  <a:lnTo>
                    <a:pt x="650861" y="2381661"/>
                  </a:lnTo>
                  <a:lnTo>
                    <a:pt x="656373" y="2380352"/>
                  </a:lnTo>
                  <a:cubicBezTo>
                    <a:pt x="667282" y="2377774"/>
                    <a:pt x="679233" y="2376377"/>
                    <a:pt x="690498" y="2376377"/>
                  </a:cubicBezTo>
                  <a:cubicBezTo>
                    <a:pt x="710767" y="2376377"/>
                    <a:pt x="728839" y="2380886"/>
                    <a:pt x="734745" y="2391147"/>
                  </a:cubicBezTo>
                  <a:cubicBezTo>
                    <a:pt x="741425" y="2402717"/>
                    <a:pt x="732420" y="2422707"/>
                    <a:pt x="717282" y="2441160"/>
                  </a:cubicBezTo>
                  <a:cubicBezTo>
                    <a:pt x="716825" y="2441706"/>
                    <a:pt x="716368" y="2442265"/>
                    <a:pt x="715898" y="2442824"/>
                  </a:cubicBezTo>
                  <a:cubicBezTo>
                    <a:pt x="715834" y="2442900"/>
                    <a:pt x="715758" y="2442989"/>
                    <a:pt x="715695" y="2443065"/>
                  </a:cubicBezTo>
                  <a:cubicBezTo>
                    <a:pt x="715123" y="2443738"/>
                    <a:pt x="714564" y="2444386"/>
                    <a:pt x="713980" y="2445046"/>
                  </a:cubicBezTo>
                  <a:cubicBezTo>
                    <a:pt x="713396" y="2445719"/>
                    <a:pt x="712799" y="2446392"/>
                    <a:pt x="712190" y="2447065"/>
                  </a:cubicBezTo>
                  <a:cubicBezTo>
                    <a:pt x="711618" y="2447700"/>
                    <a:pt x="711021" y="2448335"/>
                    <a:pt x="710437" y="2448958"/>
                  </a:cubicBezTo>
                  <a:cubicBezTo>
                    <a:pt x="709853" y="2449593"/>
                    <a:pt x="709256" y="2450215"/>
                    <a:pt x="708646" y="2450837"/>
                  </a:cubicBezTo>
                  <a:cubicBezTo>
                    <a:pt x="705090" y="2454520"/>
                    <a:pt x="701344" y="2458063"/>
                    <a:pt x="697483" y="2461365"/>
                  </a:cubicBezTo>
                  <a:lnTo>
                    <a:pt x="697166" y="2461619"/>
                  </a:lnTo>
                  <a:lnTo>
                    <a:pt x="693190" y="2465023"/>
                  </a:lnTo>
                  <a:lnTo>
                    <a:pt x="696340" y="2469722"/>
                  </a:lnTo>
                  <a:cubicBezTo>
                    <a:pt x="718844" y="2503237"/>
                    <a:pt x="745946" y="2533451"/>
                    <a:pt x="776921" y="2559523"/>
                  </a:cubicBezTo>
                  <a:lnTo>
                    <a:pt x="781252" y="2563168"/>
                  </a:lnTo>
                  <a:lnTo>
                    <a:pt x="785367" y="2559295"/>
                  </a:lnTo>
                  <a:cubicBezTo>
                    <a:pt x="803896" y="2541833"/>
                    <a:pt x="830134" y="2526999"/>
                    <a:pt x="847863" y="2526999"/>
                  </a:cubicBezTo>
                  <a:cubicBezTo>
                    <a:pt x="851940" y="2526999"/>
                    <a:pt x="855572" y="2527799"/>
                    <a:pt x="858557" y="2529514"/>
                  </a:cubicBezTo>
                  <a:cubicBezTo>
                    <a:pt x="874660" y="2538797"/>
                    <a:pt x="872615" y="2577215"/>
                    <a:pt x="861325" y="2608990"/>
                  </a:cubicBezTo>
                  <a:lnTo>
                    <a:pt x="859433" y="2614311"/>
                  </a:lnTo>
                  <a:lnTo>
                    <a:pt x="864500" y="2616813"/>
                  </a:lnTo>
                  <a:cubicBezTo>
                    <a:pt x="900835" y="2634682"/>
                    <a:pt x="939443" y="2647306"/>
                    <a:pt x="979270" y="2654329"/>
                  </a:cubicBezTo>
                  <a:lnTo>
                    <a:pt x="984845" y="2655319"/>
                  </a:lnTo>
                  <a:lnTo>
                    <a:pt x="986090" y="2651128"/>
                  </a:lnTo>
                  <a:lnTo>
                    <a:pt x="986458" y="2649896"/>
                  </a:lnTo>
                  <a:cubicBezTo>
                    <a:pt x="992592" y="2629399"/>
                    <a:pt x="1004365" y="2607783"/>
                    <a:pt x="1017078" y="2596125"/>
                  </a:cubicBezTo>
                  <a:cubicBezTo>
                    <a:pt x="1017713" y="2595553"/>
                    <a:pt x="1018335" y="2595020"/>
                    <a:pt x="1018957" y="2594487"/>
                  </a:cubicBezTo>
                  <a:cubicBezTo>
                    <a:pt x="1019580" y="2593966"/>
                    <a:pt x="1020202" y="2593471"/>
                    <a:pt x="1020837" y="2593013"/>
                  </a:cubicBezTo>
                  <a:cubicBezTo>
                    <a:pt x="1021459" y="2592543"/>
                    <a:pt x="1022082" y="2592112"/>
                    <a:pt x="1022704" y="2591693"/>
                  </a:cubicBezTo>
                  <a:cubicBezTo>
                    <a:pt x="1023326" y="2591286"/>
                    <a:pt x="1023948" y="2590892"/>
                    <a:pt x="1024583" y="2590537"/>
                  </a:cubicBezTo>
                  <a:cubicBezTo>
                    <a:pt x="1025206" y="2590181"/>
                    <a:pt x="1025828" y="2589851"/>
                    <a:pt x="1026450" y="2589559"/>
                  </a:cubicBezTo>
                  <a:cubicBezTo>
                    <a:pt x="1027072" y="2589254"/>
                    <a:pt x="1027708" y="2588988"/>
                    <a:pt x="1028330" y="2588746"/>
                  </a:cubicBezTo>
                  <a:cubicBezTo>
                    <a:pt x="1028952" y="2588505"/>
                    <a:pt x="1029587" y="2588302"/>
                    <a:pt x="1030209" y="2588124"/>
                  </a:cubicBezTo>
                  <a:cubicBezTo>
                    <a:pt x="1030844" y="2587946"/>
                    <a:pt x="1031467" y="2587806"/>
                    <a:pt x="1032102" y="2587692"/>
                  </a:cubicBezTo>
                  <a:cubicBezTo>
                    <a:pt x="1032737" y="2587578"/>
                    <a:pt x="1033359" y="2587514"/>
                    <a:pt x="1033994" y="2587463"/>
                  </a:cubicBezTo>
                  <a:cubicBezTo>
                    <a:pt x="1034324" y="2587451"/>
                    <a:pt x="1034654" y="2587438"/>
                    <a:pt x="1034972" y="2587438"/>
                  </a:cubicBezTo>
                  <a:cubicBezTo>
                    <a:pt x="1035289" y="2587438"/>
                    <a:pt x="1035594" y="2587451"/>
                    <a:pt x="1035899" y="2587463"/>
                  </a:cubicBezTo>
                  <a:cubicBezTo>
                    <a:pt x="1036547" y="2587514"/>
                    <a:pt x="1037194" y="2587590"/>
                    <a:pt x="1037829" y="2587705"/>
                  </a:cubicBezTo>
                  <a:cubicBezTo>
                    <a:pt x="1038490" y="2587832"/>
                    <a:pt x="1039137" y="2587997"/>
                    <a:pt x="1039798" y="2588200"/>
                  </a:cubicBezTo>
                  <a:cubicBezTo>
                    <a:pt x="1040471" y="2588416"/>
                    <a:pt x="1041144" y="2588657"/>
                    <a:pt x="1041804" y="2588962"/>
                  </a:cubicBezTo>
                  <a:cubicBezTo>
                    <a:pt x="1042503" y="2589254"/>
                    <a:pt x="1043189" y="2589610"/>
                    <a:pt x="1043887" y="2590004"/>
                  </a:cubicBezTo>
                  <a:cubicBezTo>
                    <a:pt x="1044611" y="2590410"/>
                    <a:pt x="1045335" y="2590880"/>
                    <a:pt x="1046046" y="2591388"/>
                  </a:cubicBezTo>
                  <a:cubicBezTo>
                    <a:pt x="1060143" y="2601294"/>
                    <a:pt x="1072196" y="2628421"/>
                    <a:pt x="1077085" y="2654811"/>
                  </a:cubicBezTo>
                  <a:lnTo>
                    <a:pt x="1078126" y="2660361"/>
                  </a:lnTo>
                  <a:lnTo>
                    <a:pt x="1083752" y="2659993"/>
                  </a:lnTo>
                  <a:cubicBezTo>
                    <a:pt x="1124151" y="2657326"/>
                    <a:pt x="1163889" y="2648995"/>
                    <a:pt x="1201900" y="2635253"/>
                  </a:cubicBezTo>
                  <a:lnTo>
                    <a:pt x="1207222" y="2633323"/>
                  </a:lnTo>
                  <a:lnTo>
                    <a:pt x="1206701" y="2631113"/>
                  </a:lnTo>
                  <a:lnTo>
                    <a:pt x="1205913" y="2627811"/>
                  </a:lnTo>
                  <a:cubicBezTo>
                    <a:pt x="1198941" y="2598373"/>
                    <a:pt x="1200618" y="2561365"/>
                    <a:pt x="1215045" y="2550507"/>
                  </a:cubicBezTo>
                  <a:cubicBezTo>
                    <a:pt x="1215578" y="2550100"/>
                    <a:pt x="1216137" y="2549745"/>
                    <a:pt x="1216709" y="2549414"/>
                  </a:cubicBezTo>
                  <a:cubicBezTo>
                    <a:pt x="1216848" y="2549325"/>
                    <a:pt x="1216988" y="2549249"/>
                    <a:pt x="1217127" y="2549173"/>
                  </a:cubicBezTo>
                  <a:cubicBezTo>
                    <a:pt x="1217839" y="2548792"/>
                    <a:pt x="1218588" y="2548462"/>
                    <a:pt x="1219350" y="2548195"/>
                  </a:cubicBezTo>
                  <a:cubicBezTo>
                    <a:pt x="1220125" y="2547928"/>
                    <a:pt x="1220925" y="2547713"/>
                    <a:pt x="1221738" y="2547560"/>
                  </a:cubicBezTo>
                  <a:cubicBezTo>
                    <a:pt x="1222563" y="2547395"/>
                    <a:pt x="1223414" y="2547281"/>
                    <a:pt x="1224290" y="2547230"/>
                  </a:cubicBezTo>
                  <a:cubicBezTo>
                    <a:pt x="1224798" y="2547192"/>
                    <a:pt x="1225306" y="2547179"/>
                    <a:pt x="1225827" y="2547179"/>
                  </a:cubicBezTo>
                  <a:cubicBezTo>
                    <a:pt x="1226221" y="2547179"/>
                    <a:pt x="1226602" y="2547192"/>
                    <a:pt x="1227008" y="2547204"/>
                  </a:cubicBezTo>
                  <a:cubicBezTo>
                    <a:pt x="1227948" y="2547255"/>
                    <a:pt x="1228913" y="2547344"/>
                    <a:pt x="1229891" y="2547484"/>
                  </a:cubicBezTo>
                  <a:cubicBezTo>
                    <a:pt x="1230894" y="2547636"/>
                    <a:pt x="1231910" y="2547827"/>
                    <a:pt x="1232952" y="2548068"/>
                  </a:cubicBezTo>
                  <a:cubicBezTo>
                    <a:pt x="1234006" y="2548322"/>
                    <a:pt x="1235085" y="2548614"/>
                    <a:pt x="1236177" y="2548957"/>
                  </a:cubicBezTo>
                  <a:cubicBezTo>
                    <a:pt x="1237308" y="2549313"/>
                    <a:pt x="1238438" y="2549706"/>
                    <a:pt x="1239606" y="2550164"/>
                  </a:cubicBezTo>
                  <a:cubicBezTo>
                    <a:pt x="1240788" y="2550621"/>
                    <a:pt x="1241994" y="2551141"/>
                    <a:pt x="1243213" y="2551700"/>
                  </a:cubicBezTo>
                  <a:cubicBezTo>
                    <a:pt x="1244483" y="2552285"/>
                    <a:pt x="1245766" y="2552920"/>
                    <a:pt x="1247061" y="2553593"/>
                  </a:cubicBezTo>
                  <a:cubicBezTo>
                    <a:pt x="1248408" y="2554304"/>
                    <a:pt x="1249779" y="2555079"/>
                    <a:pt x="1251151" y="2555891"/>
                  </a:cubicBezTo>
                  <a:cubicBezTo>
                    <a:pt x="1252598" y="2556755"/>
                    <a:pt x="1254059" y="2557669"/>
                    <a:pt x="1255520" y="2558635"/>
                  </a:cubicBezTo>
                  <a:cubicBezTo>
                    <a:pt x="1257107" y="2559676"/>
                    <a:pt x="1258695" y="2560781"/>
                    <a:pt x="1260282" y="2561937"/>
                  </a:cubicBezTo>
                  <a:cubicBezTo>
                    <a:pt x="1262047" y="2563219"/>
                    <a:pt x="1263800" y="2564565"/>
                    <a:pt x="1265540" y="2565962"/>
                  </a:cubicBezTo>
                  <a:cubicBezTo>
                    <a:pt x="1267089" y="2567207"/>
                    <a:pt x="1268639" y="2568502"/>
                    <a:pt x="1270163" y="2569836"/>
                  </a:cubicBezTo>
                  <a:cubicBezTo>
                    <a:pt x="1275497" y="2574471"/>
                    <a:pt x="1280640" y="2579589"/>
                    <a:pt x="1285364" y="2584949"/>
                  </a:cubicBezTo>
                  <a:lnTo>
                    <a:pt x="1285364" y="3657639"/>
                  </a:lnTo>
                  <a:lnTo>
                    <a:pt x="1298064" y="3657639"/>
                  </a:lnTo>
                  <a:lnTo>
                    <a:pt x="1298064" y="2580237"/>
                  </a:lnTo>
                  <a:lnTo>
                    <a:pt x="1296540" y="2578459"/>
                  </a:lnTo>
                  <a:cubicBezTo>
                    <a:pt x="1281885" y="2561301"/>
                    <a:pt x="1251506" y="2534416"/>
                    <a:pt x="1225878" y="2534403"/>
                  </a:cubicBezTo>
                  <a:cubicBezTo>
                    <a:pt x="1220417" y="2534403"/>
                    <a:pt x="1215184" y="2535622"/>
                    <a:pt x="1210359" y="2538404"/>
                  </a:cubicBezTo>
                  <a:cubicBezTo>
                    <a:pt x="1208822" y="2539292"/>
                    <a:pt x="1207374" y="2540308"/>
                    <a:pt x="1206041" y="2541451"/>
                  </a:cubicBezTo>
                  <a:cubicBezTo>
                    <a:pt x="1204986" y="2542328"/>
                    <a:pt x="1203996" y="2543293"/>
                    <a:pt x="1203056" y="2544309"/>
                  </a:cubicBezTo>
                  <a:cubicBezTo>
                    <a:pt x="1202015" y="2545465"/>
                    <a:pt x="1201037" y="2546684"/>
                    <a:pt x="1200122" y="2547979"/>
                  </a:cubicBezTo>
                  <a:cubicBezTo>
                    <a:pt x="1199335" y="2549122"/>
                    <a:pt x="1198586" y="2550316"/>
                    <a:pt x="1197887" y="2551561"/>
                  </a:cubicBezTo>
                  <a:cubicBezTo>
                    <a:pt x="1197252" y="2552691"/>
                    <a:pt x="1196655" y="2553872"/>
                    <a:pt x="1196096" y="2555079"/>
                  </a:cubicBezTo>
                  <a:cubicBezTo>
                    <a:pt x="1195588" y="2556196"/>
                    <a:pt x="1195106" y="2557352"/>
                    <a:pt x="1194649" y="2558546"/>
                  </a:cubicBezTo>
                  <a:cubicBezTo>
                    <a:pt x="1194230" y="2559651"/>
                    <a:pt x="1193836" y="2560794"/>
                    <a:pt x="1193455" y="2561962"/>
                  </a:cubicBezTo>
                  <a:cubicBezTo>
                    <a:pt x="1193112" y="2563067"/>
                    <a:pt x="1192782" y="2564184"/>
                    <a:pt x="1192477" y="2565327"/>
                  </a:cubicBezTo>
                  <a:cubicBezTo>
                    <a:pt x="1192197" y="2566420"/>
                    <a:pt x="1191918" y="2567537"/>
                    <a:pt x="1191677" y="2568667"/>
                  </a:cubicBezTo>
                  <a:cubicBezTo>
                    <a:pt x="1191436" y="2569747"/>
                    <a:pt x="1191220" y="2570839"/>
                    <a:pt x="1191016" y="2571944"/>
                  </a:cubicBezTo>
                  <a:cubicBezTo>
                    <a:pt x="1190826" y="2573011"/>
                    <a:pt x="1190648" y="2574090"/>
                    <a:pt x="1190496" y="2575183"/>
                  </a:cubicBezTo>
                  <a:cubicBezTo>
                    <a:pt x="1190331" y="2576237"/>
                    <a:pt x="1190191" y="2577304"/>
                    <a:pt x="1190077" y="2578370"/>
                  </a:cubicBezTo>
                  <a:cubicBezTo>
                    <a:pt x="1189950" y="2579412"/>
                    <a:pt x="1189848" y="2580466"/>
                    <a:pt x="1189746" y="2581520"/>
                  </a:cubicBezTo>
                  <a:cubicBezTo>
                    <a:pt x="1189658" y="2582561"/>
                    <a:pt x="1189581" y="2583590"/>
                    <a:pt x="1189518" y="2584631"/>
                  </a:cubicBezTo>
                  <a:cubicBezTo>
                    <a:pt x="1189454" y="2585647"/>
                    <a:pt x="1189403" y="2586663"/>
                    <a:pt x="1189353" y="2587679"/>
                  </a:cubicBezTo>
                  <a:cubicBezTo>
                    <a:pt x="1189315" y="2588683"/>
                    <a:pt x="1189289" y="2589686"/>
                    <a:pt x="1189264" y="2590689"/>
                  </a:cubicBezTo>
                  <a:cubicBezTo>
                    <a:pt x="1189251" y="2591680"/>
                    <a:pt x="1189238" y="2592658"/>
                    <a:pt x="1189238" y="2593648"/>
                  </a:cubicBezTo>
                  <a:cubicBezTo>
                    <a:pt x="1189251" y="2594626"/>
                    <a:pt x="1189251" y="2595591"/>
                    <a:pt x="1189277" y="2596569"/>
                  </a:cubicBezTo>
                  <a:cubicBezTo>
                    <a:pt x="1189302" y="2597522"/>
                    <a:pt x="1189327" y="2598474"/>
                    <a:pt x="1189365" y="2599427"/>
                  </a:cubicBezTo>
                  <a:cubicBezTo>
                    <a:pt x="1189391" y="2600367"/>
                    <a:pt x="1189442" y="2601306"/>
                    <a:pt x="1189492" y="2602234"/>
                  </a:cubicBezTo>
                  <a:cubicBezTo>
                    <a:pt x="1189543" y="2603161"/>
                    <a:pt x="1189607" y="2604088"/>
                    <a:pt x="1189670" y="2605002"/>
                  </a:cubicBezTo>
                  <a:cubicBezTo>
                    <a:pt x="1189734" y="2605904"/>
                    <a:pt x="1189810" y="2606806"/>
                    <a:pt x="1189886" y="2607707"/>
                  </a:cubicBezTo>
                  <a:cubicBezTo>
                    <a:pt x="1189962" y="2608596"/>
                    <a:pt x="1190051" y="2609485"/>
                    <a:pt x="1190140" y="2610374"/>
                  </a:cubicBezTo>
                  <a:cubicBezTo>
                    <a:pt x="1190242" y="2611238"/>
                    <a:pt x="1190331" y="2612114"/>
                    <a:pt x="1190432" y="2612978"/>
                  </a:cubicBezTo>
                  <a:cubicBezTo>
                    <a:pt x="1190534" y="2613829"/>
                    <a:pt x="1190648" y="2614679"/>
                    <a:pt x="1190762" y="2615518"/>
                  </a:cubicBezTo>
                  <a:cubicBezTo>
                    <a:pt x="1190877" y="2616356"/>
                    <a:pt x="1190991" y="2617194"/>
                    <a:pt x="1191118" y="2618007"/>
                  </a:cubicBezTo>
                  <a:cubicBezTo>
                    <a:pt x="1191232" y="2618832"/>
                    <a:pt x="1191372" y="2619645"/>
                    <a:pt x="1191499" y="2620458"/>
                  </a:cubicBezTo>
                  <a:cubicBezTo>
                    <a:pt x="1191626" y="2621258"/>
                    <a:pt x="1191766" y="2622045"/>
                    <a:pt x="1191905" y="2622846"/>
                  </a:cubicBezTo>
                  <a:cubicBezTo>
                    <a:pt x="1192058" y="2623620"/>
                    <a:pt x="1192197" y="2624395"/>
                    <a:pt x="1192350" y="2625157"/>
                  </a:cubicBezTo>
                  <a:cubicBezTo>
                    <a:pt x="1158797" y="2636790"/>
                    <a:pt x="1123897" y="2644105"/>
                    <a:pt x="1088426" y="2646912"/>
                  </a:cubicBezTo>
                  <a:cubicBezTo>
                    <a:pt x="1082203" y="2619150"/>
                    <a:pt x="1064690" y="2574738"/>
                    <a:pt x="1034972" y="2574738"/>
                  </a:cubicBezTo>
                  <a:cubicBezTo>
                    <a:pt x="1025269" y="2574738"/>
                    <a:pt x="1016201" y="2579589"/>
                    <a:pt x="1008099" y="2587121"/>
                  </a:cubicBezTo>
                  <a:cubicBezTo>
                    <a:pt x="1007705" y="2587489"/>
                    <a:pt x="1007324" y="2587845"/>
                    <a:pt x="1006930" y="2588226"/>
                  </a:cubicBezTo>
                  <a:cubicBezTo>
                    <a:pt x="1005698" y="2589432"/>
                    <a:pt x="1004479" y="2590689"/>
                    <a:pt x="1003298" y="2592010"/>
                  </a:cubicBezTo>
                  <a:cubicBezTo>
                    <a:pt x="1002181" y="2593255"/>
                    <a:pt x="1001076" y="2594550"/>
                    <a:pt x="1000009" y="2595871"/>
                  </a:cubicBezTo>
                  <a:cubicBezTo>
                    <a:pt x="998980" y="2597141"/>
                    <a:pt x="997964" y="2598462"/>
                    <a:pt x="996986" y="2599795"/>
                  </a:cubicBezTo>
                  <a:cubicBezTo>
                    <a:pt x="996034" y="2601091"/>
                    <a:pt x="995107" y="2602424"/>
                    <a:pt x="994192" y="2603770"/>
                  </a:cubicBezTo>
                  <a:cubicBezTo>
                    <a:pt x="993316" y="2605091"/>
                    <a:pt x="992452" y="2606437"/>
                    <a:pt x="991601" y="2607796"/>
                  </a:cubicBezTo>
                  <a:cubicBezTo>
                    <a:pt x="990776" y="2609117"/>
                    <a:pt x="989963" y="2610476"/>
                    <a:pt x="989176" y="2611847"/>
                  </a:cubicBezTo>
                  <a:cubicBezTo>
                    <a:pt x="988401" y="2613194"/>
                    <a:pt x="987639" y="2614565"/>
                    <a:pt x="986903" y="2615924"/>
                  </a:cubicBezTo>
                  <a:cubicBezTo>
                    <a:pt x="986179" y="2617296"/>
                    <a:pt x="985467" y="2618655"/>
                    <a:pt x="984782" y="2620026"/>
                  </a:cubicBezTo>
                  <a:cubicBezTo>
                    <a:pt x="984083" y="2621410"/>
                    <a:pt x="983423" y="2622782"/>
                    <a:pt x="982775" y="2624154"/>
                  </a:cubicBezTo>
                  <a:cubicBezTo>
                    <a:pt x="982127" y="2625538"/>
                    <a:pt x="981505" y="2626922"/>
                    <a:pt x="980908" y="2628307"/>
                  </a:cubicBezTo>
                  <a:cubicBezTo>
                    <a:pt x="980299" y="2629704"/>
                    <a:pt x="979714" y="2631088"/>
                    <a:pt x="979168" y="2632459"/>
                  </a:cubicBezTo>
                  <a:cubicBezTo>
                    <a:pt x="978597" y="2633869"/>
                    <a:pt x="978051" y="2635266"/>
                    <a:pt x="977530" y="2636650"/>
                  </a:cubicBezTo>
                  <a:cubicBezTo>
                    <a:pt x="977009" y="2638060"/>
                    <a:pt x="976514" y="2639457"/>
                    <a:pt x="976031" y="2640829"/>
                  </a:cubicBezTo>
                  <a:cubicBezTo>
                    <a:pt x="941119" y="2634199"/>
                    <a:pt x="907210" y="2623112"/>
                    <a:pt x="875092" y="2607822"/>
                  </a:cubicBezTo>
                  <a:cubicBezTo>
                    <a:pt x="883614" y="2580631"/>
                    <a:pt x="890700" y="2533374"/>
                    <a:pt x="864907" y="2518515"/>
                  </a:cubicBezTo>
                  <a:cubicBezTo>
                    <a:pt x="859827" y="2515569"/>
                    <a:pt x="854048" y="2514299"/>
                    <a:pt x="847876" y="2514299"/>
                  </a:cubicBezTo>
                  <a:cubicBezTo>
                    <a:pt x="825727" y="2514286"/>
                    <a:pt x="798587" y="2530809"/>
                    <a:pt x="780884" y="2546214"/>
                  </a:cubicBezTo>
                  <a:cubicBezTo>
                    <a:pt x="753972" y="2522948"/>
                    <a:pt x="730160" y="2496417"/>
                    <a:pt x="709992" y="2467220"/>
                  </a:cubicBezTo>
                  <a:cubicBezTo>
                    <a:pt x="711237" y="2466064"/>
                    <a:pt x="712520" y="2464858"/>
                    <a:pt x="713815" y="2463575"/>
                  </a:cubicBezTo>
                  <a:cubicBezTo>
                    <a:pt x="714856" y="2462559"/>
                    <a:pt x="715898" y="2461505"/>
                    <a:pt x="716952" y="2460426"/>
                  </a:cubicBezTo>
                  <a:cubicBezTo>
                    <a:pt x="736751" y="2440030"/>
                    <a:pt x="758989" y="2407759"/>
                    <a:pt x="745755" y="2384797"/>
                  </a:cubicBezTo>
                  <a:cubicBezTo>
                    <a:pt x="736624" y="2368986"/>
                    <a:pt x="713726" y="2363690"/>
                    <a:pt x="690752" y="2363690"/>
                  </a:cubicBezTo>
                  <a:cubicBezTo>
                    <a:pt x="679677" y="2363690"/>
                    <a:pt x="668603" y="2364922"/>
                    <a:pt x="659027" y="2366789"/>
                  </a:cubicBezTo>
                  <a:cubicBezTo>
                    <a:pt x="647381" y="2333286"/>
                    <a:pt x="640054" y="2298387"/>
                    <a:pt x="637247" y="2262878"/>
                  </a:cubicBezTo>
                  <a:cubicBezTo>
                    <a:pt x="638542" y="2262586"/>
                    <a:pt x="639876" y="2262268"/>
                    <a:pt x="641235" y="2261925"/>
                  </a:cubicBezTo>
                  <a:cubicBezTo>
                    <a:pt x="642543" y="2261595"/>
                    <a:pt x="643876" y="2261252"/>
                    <a:pt x="645235" y="2260884"/>
                  </a:cubicBezTo>
                  <a:cubicBezTo>
                    <a:pt x="646543" y="2260516"/>
                    <a:pt x="647877" y="2260135"/>
                    <a:pt x="649223" y="2259728"/>
                  </a:cubicBezTo>
                  <a:cubicBezTo>
                    <a:pt x="650556" y="2259334"/>
                    <a:pt x="651890" y="2258928"/>
                    <a:pt x="653236" y="2258484"/>
                  </a:cubicBezTo>
                  <a:cubicBezTo>
                    <a:pt x="654570" y="2258064"/>
                    <a:pt x="655903" y="2257607"/>
                    <a:pt x="657249" y="2257137"/>
                  </a:cubicBezTo>
                  <a:cubicBezTo>
                    <a:pt x="658583" y="2256680"/>
                    <a:pt x="659916" y="2256185"/>
                    <a:pt x="661263" y="2255677"/>
                  </a:cubicBezTo>
                  <a:cubicBezTo>
                    <a:pt x="662609" y="2255182"/>
                    <a:pt x="663942" y="2254648"/>
                    <a:pt x="665276" y="2254102"/>
                  </a:cubicBezTo>
                  <a:cubicBezTo>
                    <a:pt x="666622" y="2253569"/>
                    <a:pt x="667956" y="2252997"/>
                    <a:pt x="669289" y="2252413"/>
                  </a:cubicBezTo>
                  <a:cubicBezTo>
                    <a:pt x="670622" y="2251816"/>
                    <a:pt x="671956" y="2251206"/>
                    <a:pt x="673290" y="2250571"/>
                  </a:cubicBezTo>
                  <a:cubicBezTo>
                    <a:pt x="674623" y="2249936"/>
                    <a:pt x="675956" y="2249276"/>
                    <a:pt x="677265" y="2248590"/>
                  </a:cubicBezTo>
                  <a:cubicBezTo>
                    <a:pt x="678611" y="2247892"/>
                    <a:pt x="679944" y="2247168"/>
                    <a:pt x="681240" y="2246419"/>
                  </a:cubicBezTo>
                  <a:cubicBezTo>
                    <a:pt x="682586" y="2245657"/>
                    <a:pt x="683907" y="2244856"/>
                    <a:pt x="685202" y="2244044"/>
                  </a:cubicBezTo>
                  <a:cubicBezTo>
                    <a:pt x="686536" y="2243193"/>
                    <a:pt x="687844" y="2242329"/>
                    <a:pt x="689114" y="2241427"/>
                  </a:cubicBezTo>
                  <a:cubicBezTo>
                    <a:pt x="690447" y="2240475"/>
                    <a:pt x="691743" y="2239497"/>
                    <a:pt x="692987" y="2238494"/>
                  </a:cubicBezTo>
                  <a:cubicBezTo>
                    <a:pt x="694321" y="2237414"/>
                    <a:pt x="695591" y="2236309"/>
                    <a:pt x="696797" y="2235166"/>
                  </a:cubicBezTo>
                  <a:cubicBezTo>
                    <a:pt x="697826" y="2234189"/>
                    <a:pt x="698804" y="2233198"/>
                    <a:pt x="699731" y="2232169"/>
                  </a:cubicBezTo>
                  <a:cubicBezTo>
                    <a:pt x="705687" y="2225603"/>
                    <a:pt x="709396" y="2218021"/>
                    <a:pt x="709396" y="2209436"/>
                  </a:cubicBezTo>
                  <a:cubicBezTo>
                    <a:pt x="709421" y="2182385"/>
                    <a:pt x="671740" y="2160211"/>
                    <a:pt x="643318" y="2150470"/>
                  </a:cubicBezTo>
                  <a:cubicBezTo>
                    <a:pt x="649972" y="2115571"/>
                    <a:pt x="661059" y="2081675"/>
                    <a:pt x="676350" y="2049556"/>
                  </a:cubicBezTo>
                  <a:cubicBezTo>
                    <a:pt x="676922" y="2049734"/>
                    <a:pt x="677493" y="2049912"/>
                    <a:pt x="678077" y="2050090"/>
                  </a:cubicBezTo>
                  <a:cubicBezTo>
                    <a:pt x="678674" y="2050267"/>
                    <a:pt x="679284" y="2050445"/>
                    <a:pt x="679894" y="2050623"/>
                  </a:cubicBezTo>
                  <a:cubicBezTo>
                    <a:pt x="680503" y="2050801"/>
                    <a:pt x="681125" y="2050979"/>
                    <a:pt x="681748" y="2051156"/>
                  </a:cubicBezTo>
                  <a:cubicBezTo>
                    <a:pt x="682383" y="2051334"/>
                    <a:pt x="683018" y="2051499"/>
                    <a:pt x="683665" y="2051677"/>
                  </a:cubicBezTo>
                  <a:cubicBezTo>
                    <a:pt x="684326" y="2051842"/>
                    <a:pt x="684986" y="2052020"/>
                    <a:pt x="685659" y="2052185"/>
                  </a:cubicBezTo>
                  <a:cubicBezTo>
                    <a:pt x="686320" y="2052363"/>
                    <a:pt x="687006" y="2052528"/>
                    <a:pt x="687691" y="2052693"/>
                  </a:cubicBezTo>
                  <a:cubicBezTo>
                    <a:pt x="688377" y="2052858"/>
                    <a:pt x="689076" y="2053023"/>
                    <a:pt x="689787" y="2053188"/>
                  </a:cubicBezTo>
                  <a:cubicBezTo>
                    <a:pt x="690498" y="2053353"/>
                    <a:pt x="691222" y="2053519"/>
                    <a:pt x="691946" y="2053671"/>
                  </a:cubicBezTo>
                  <a:cubicBezTo>
                    <a:pt x="692682" y="2053836"/>
                    <a:pt x="693419" y="2053988"/>
                    <a:pt x="694156" y="2054141"/>
                  </a:cubicBezTo>
                  <a:cubicBezTo>
                    <a:pt x="694905" y="2054293"/>
                    <a:pt x="695667" y="2054446"/>
                    <a:pt x="696429" y="2054585"/>
                  </a:cubicBezTo>
                  <a:cubicBezTo>
                    <a:pt x="697204" y="2054738"/>
                    <a:pt x="697978" y="2054878"/>
                    <a:pt x="698753" y="2055017"/>
                  </a:cubicBezTo>
                  <a:cubicBezTo>
                    <a:pt x="699553" y="2055157"/>
                    <a:pt x="700341" y="2055284"/>
                    <a:pt x="701140" y="2055424"/>
                  </a:cubicBezTo>
                  <a:cubicBezTo>
                    <a:pt x="701953" y="2055551"/>
                    <a:pt x="702766" y="2055678"/>
                    <a:pt x="703592" y="2055805"/>
                  </a:cubicBezTo>
                  <a:cubicBezTo>
                    <a:pt x="704417" y="2055919"/>
                    <a:pt x="705255" y="2056033"/>
                    <a:pt x="706081" y="2056147"/>
                  </a:cubicBezTo>
                  <a:cubicBezTo>
                    <a:pt x="706932" y="2056262"/>
                    <a:pt x="707783" y="2056363"/>
                    <a:pt x="708646" y="2056465"/>
                  </a:cubicBezTo>
                  <a:cubicBezTo>
                    <a:pt x="709510" y="2056554"/>
                    <a:pt x="710373" y="2056656"/>
                    <a:pt x="711250" y="2056732"/>
                  </a:cubicBezTo>
                  <a:cubicBezTo>
                    <a:pt x="712139" y="2056821"/>
                    <a:pt x="713028" y="2056897"/>
                    <a:pt x="713917" y="2056960"/>
                  </a:cubicBezTo>
                  <a:cubicBezTo>
                    <a:pt x="714831" y="2057037"/>
                    <a:pt x="715733" y="2057100"/>
                    <a:pt x="716634" y="2057151"/>
                  </a:cubicBezTo>
                  <a:cubicBezTo>
                    <a:pt x="717562" y="2057202"/>
                    <a:pt x="718489" y="2057240"/>
                    <a:pt x="719416" y="2057265"/>
                  </a:cubicBezTo>
                  <a:cubicBezTo>
                    <a:pt x="720356" y="2057303"/>
                    <a:pt x="721308" y="2057316"/>
                    <a:pt x="722248" y="2057329"/>
                  </a:cubicBezTo>
                  <a:cubicBezTo>
                    <a:pt x="722553" y="2057329"/>
                    <a:pt x="722883" y="2057329"/>
                    <a:pt x="723188" y="2057329"/>
                  </a:cubicBezTo>
                  <a:cubicBezTo>
                    <a:pt x="723835" y="2057329"/>
                    <a:pt x="724483" y="2057329"/>
                    <a:pt x="725131" y="2057316"/>
                  </a:cubicBezTo>
                  <a:cubicBezTo>
                    <a:pt x="726109" y="2057303"/>
                    <a:pt x="727099" y="2057265"/>
                    <a:pt x="728077" y="2057214"/>
                  </a:cubicBezTo>
                  <a:cubicBezTo>
                    <a:pt x="729081" y="2057163"/>
                    <a:pt x="730071" y="2057100"/>
                    <a:pt x="731062" y="2057024"/>
                  </a:cubicBezTo>
                  <a:cubicBezTo>
                    <a:pt x="732090" y="2056935"/>
                    <a:pt x="733106" y="2056833"/>
                    <a:pt x="734122" y="2056719"/>
                  </a:cubicBezTo>
                  <a:cubicBezTo>
                    <a:pt x="735164" y="2056592"/>
                    <a:pt x="736193" y="2056452"/>
                    <a:pt x="737221" y="2056287"/>
                  </a:cubicBezTo>
                  <a:cubicBezTo>
                    <a:pt x="739977" y="2055830"/>
                    <a:pt x="742657" y="2055220"/>
                    <a:pt x="745197" y="2054446"/>
                  </a:cubicBezTo>
                  <a:cubicBezTo>
                    <a:pt x="747546" y="2053722"/>
                    <a:pt x="749794" y="2052858"/>
                    <a:pt x="751902" y="2051817"/>
                  </a:cubicBezTo>
                  <a:cubicBezTo>
                    <a:pt x="753757" y="2050902"/>
                    <a:pt x="755522" y="2049861"/>
                    <a:pt x="757160" y="2048680"/>
                  </a:cubicBezTo>
                  <a:cubicBezTo>
                    <a:pt x="758646" y="2047601"/>
                    <a:pt x="760030" y="2046407"/>
                    <a:pt x="761300" y="2045086"/>
                  </a:cubicBezTo>
                  <a:cubicBezTo>
                    <a:pt x="761796" y="2044578"/>
                    <a:pt x="762253" y="2044070"/>
                    <a:pt x="762710" y="2043524"/>
                  </a:cubicBezTo>
                  <a:cubicBezTo>
                    <a:pt x="763777" y="2042241"/>
                    <a:pt x="764755" y="2040857"/>
                    <a:pt x="765618" y="2039358"/>
                  </a:cubicBezTo>
                  <a:cubicBezTo>
                    <a:pt x="779144" y="2015952"/>
                    <a:pt x="757617" y="1977954"/>
                    <a:pt x="737920" y="1955322"/>
                  </a:cubicBezTo>
                  <a:cubicBezTo>
                    <a:pt x="745159" y="1946953"/>
                    <a:pt x="752715" y="1938876"/>
                    <a:pt x="760576" y="1931116"/>
                  </a:cubicBezTo>
                  <a:cubicBezTo>
                    <a:pt x="761199" y="1930507"/>
                    <a:pt x="761821" y="1929897"/>
                    <a:pt x="762456" y="1929287"/>
                  </a:cubicBezTo>
                  <a:cubicBezTo>
                    <a:pt x="763078" y="1928665"/>
                    <a:pt x="763713" y="1928056"/>
                    <a:pt x="764348" y="1927446"/>
                  </a:cubicBezTo>
                  <a:cubicBezTo>
                    <a:pt x="764983" y="1926836"/>
                    <a:pt x="765618" y="1926227"/>
                    <a:pt x="766253" y="1925617"/>
                  </a:cubicBezTo>
                  <a:cubicBezTo>
                    <a:pt x="766901" y="1925008"/>
                    <a:pt x="767549" y="1924398"/>
                    <a:pt x="768196" y="1923788"/>
                  </a:cubicBezTo>
                  <a:cubicBezTo>
                    <a:pt x="768831" y="1923192"/>
                    <a:pt x="769479" y="1922595"/>
                    <a:pt x="770114" y="1921998"/>
                  </a:cubicBezTo>
                  <a:cubicBezTo>
                    <a:pt x="770762" y="1921388"/>
                    <a:pt x="771422" y="1920791"/>
                    <a:pt x="772070" y="1920194"/>
                  </a:cubicBezTo>
                  <a:cubicBezTo>
                    <a:pt x="772730" y="1919585"/>
                    <a:pt x="773391" y="1918988"/>
                    <a:pt x="774051" y="1918391"/>
                  </a:cubicBezTo>
                  <a:cubicBezTo>
                    <a:pt x="774711" y="1917807"/>
                    <a:pt x="775359" y="1917210"/>
                    <a:pt x="776020" y="1916638"/>
                  </a:cubicBezTo>
                  <a:cubicBezTo>
                    <a:pt x="776680" y="1916041"/>
                    <a:pt x="777353" y="1915445"/>
                    <a:pt x="778026" y="1914848"/>
                  </a:cubicBezTo>
                  <a:cubicBezTo>
                    <a:pt x="778674" y="1914276"/>
                    <a:pt x="779334" y="1913692"/>
                    <a:pt x="780007" y="1913121"/>
                  </a:cubicBezTo>
                  <a:cubicBezTo>
                    <a:pt x="781036" y="1912231"/>
                    <a:pt x="782065" y="1911330"/>
                    <a:pt x="783106" y="1910453"/>
                  </a:cubicBezTo>
                  <a:cubicBezTo>
                    <a:pt x="784440" y="1909310"/>
                    <a:pt x="785798" y="1908168"/>
                    <a:pt x="787157" y="1907037"/>
                  </a:cubicBezTo>
                  <a:cubicBezTo>
                    <a:pt x="788504" y="1905920"/>
                    <a:pt x="789875" y="1904789"/>
                    <a:pt x="791247" y="1903684"/>
                  </a:cubicBezTo>
                  <a:cubicBezTo>
                    <a:pt x="792618" y="1902580"/>
                    <a:pt x="793990" y="1901475"/>
                    <a:pt x="795374" y="1900382"/>
                  </a:cubicBezTo>
                  <a:cubicBezTo>
                    <a:pt x="796759" y="1899290"/>
                    <a:pt x="798156" y="1898198"/>
                    <a:pt x="799553" y="1897131"/>
                  </a:cubicBezTo>
                  <a:cubicBezTo>
                    <a:pt x="800950" y="1896052"/>
                    <a:pt x="802359" y="1894985"/>
                    <a:pt x="803769" y="1893918"/>
                  </a:cubicBezTo>
                  <a:cubicBezTo>
                    <a:pt x="805179" y="1892864"/>
                    <a:pt x="806601" y="1891810"/>
                    <a:pt x="808023" y="1890769"/>
                  </a:cubicBezTo>
                  <a:cubicBezTo>
                    <a:pt x="809459" y="1889727"/>
                    <a:pt x="810881" y="1888698"/>
                    <a:pt x="812316" y="1887682"/>
                  </a:cubicBezTo>
                  <a:cubicBezTo>
                    <a:pt x="813764" y="1886654"/>
                    <a:pt x="815199" y="1885651"/>
                    <a:pt x="816659" y="1884635"/>
                  </a:cubicBezTo>
                  <a:cubicBezTo>
                    <a:pt x="816748" y="1884584"/>
                    <a:pt x="816837" y="1884520"/>
                    <a:pt x="816926" y="1884457"/>
                  </a:cubicBezTo>
                  <a:cubicBezTo>
                    <a:pt x="821371" y="1889346"/>
                    <a:pt x="827658" y="1895798"/>
                    <a:pt x="835024" y="1902008"/>
                  </a:cubicBezTo>
                  <a:cubicBezTo>
                    <a:pt x="838059" y="1904586"/>
                    <a:pt x="841285" y="1907113"/>
                    <a:pt x="844638" y="1909476"/>
                  </a:cubicBezTo>
                  <a:cubicBezTo>
                    <a:pt x="846987" y="1911127"/>
                    <a:pt x="849400" y="1912701"/>
                    <a:pt x="851864" y="1914162"/>
                  </a:cubicBezTo>
                  <a:cubicBezTo>
                    <a:pt x="853820" y="1915318"/>
                    <a:pt x="855801" y="1916384"/>
                    <a:pt x="857807" y="1917362"/>
                  </a:cubicBezTo>
                  <a:cubicBezTo>
                    <a:pt x="859484" y="1918175"/>
                    <a:pt x="861173" y="1918924"/>
                    <a:pt x="862875" y="1919585"/>
                  </a:cubicBezTo>
                  <a:cubicBezTo>
                    <a:pt x="864335" y="1920156"/>
                    <a:pt x="865808" y="1920677"/>
                    <a:pt x="867294" y="1921109"/>
                  </a:cubicBezTo>
                  <a:cubicBezTo>
                    <a:pt x="868577" y="1921503"/>
                    <a:pt x="869872" y="1921833"/>
                    <a:pt x="871168" y="1922099"/>
                  </a:cubicBezTo>
                  <a:cubicBezTo>
                    <a:pt x="872311" y="1922341"/>
                    <a:pt x="873441" y="1922531"/>
                    <a:pt x="874571" y="1922684"/>
                  </a:cubicBezTo>
                  <a:cubicBezTo>
                    <a:pt x="875562" y="1922798"/>
                    <a:pt x="876553" y="1922887"/>
                    <a:pt x="877543" y="1922938"/>
                  </a:cubicBezTo>
                  <a:cubicBezTo>
                    <a:pt x="878114" y="1922963"/>
                    <a:pt x="878673" y="1922976"/>
                    <a:pt x="879245" y="1922976"/>
                  </a:cubicBezTo>
                  <a:cubicBezTo>
                    <a:pt x="879512" y="1922976"/>
                    <a:pt x="879778" y="1922976"/>
                    <a:pt x="880058" y="1922976"/>
                  </a:cubicBezTo>
                  <a:cubicBezTo>
                    <a:pt x="880718" y="1922950"/>
                    <a:pt x="881391" y="1922925"/>
                    <a:pt x="882052" y="1922861"/>
                  </a:cubicBezTo>
                  <a:cubicBezTo>
                    <a:pt x="882496" y="1922823"/>
                    <a:pt x="882941" y="1922785"/>
                    <a:pt x="883385" y="1922722"/>
                  </a:cubicBezTo>
                  <a:cubicBezTo>
                    <a:pt x="883474" y="1922709"/>
                    <a:pt x="883563" y="1922696"/>
                    <a:pt x="883652" y="1922684"/>
                  </a:cubicBezTo>
                  <a:cubicBezTo>
                    <a:pt x="887474" y="1922176"/>
                    <a:pt x="891234" y="1920944"/>
                    <a:pt x="894840" y="1918861"/>
                  </a:cubicBezTo>
                  <a:cubicBezTo>
                    <a:pt x="897584" y="1917273"/>
                    <a:pt x="899971" y="1915191"/>
                    <a:pt x="902067" y="1912689"/>
                  </a:cubicBezTo>
                  <a:cubicBezTo>
                    <a:pt x="916621" y="1895264"/>
                    <a:pt x="916443" y="1857977"/>
                    <a:pt x="916329" y="1834508"/>
                  </a:cubicBezTo>
                  <a:lnTo>
                    <a:pt x="915326" y="1713185"/>
                  </a:lnTo>
                  <a:lnTo>
                    <a:pt x="913814" y="1711432"/>
                  </a:lnTo>
                  <a:cubicBezTo>
                    <a:pt x="894117" y="1688369"/>
                    <a:pt x="853337" y="1652085"/>
                    <a:pt x="819288" y="1652085"/>
                  </a:cubicBezTo>
                  <a:cubicBezTo>
                    <a:pt x="812189" y="1652085"/>
                    <a:pt x="805382" y="1653673"/>
                    <a:pt x="799121" y="1657267"/>
                  </a:cubicBezTo>
                  <a:cubicBezTo>
                    <a:pt x="796873" y="1658575"/>
                    <a:pt x="794777" y="1660086"/>
                    <a:pt x="792847" y="1661788"/>
                  </a:cubicBezTo>
                  <a:cubicBezTo>
                    <a:pt x="791717" y="1662791"/>
                    <a:pt x="790637" y="1663858"/>
                    <a:pt x="789608" y="1664976"/>
                  </a:cubicBezTo>
                  <a:cubicBezTo>
                    <a:pt x="788542" y="1666144"/>
                    <a:pt x="787538" y="1667363"/>
                    <a:pt x="786586" y="1668659"/>
                  </a:cubicBezTo>
                  <a:cubicBezTo>
                    <a:pt x="785722" y="1669802"/>
                    <a:pt x="784910" y="1671008"/>
                    <a:pt x="784135" y="1672253"/>
                  </a:cubicBezTo>
                  <a:cubicBezTo>
                    <a:pt x="783424" y="1673396"/>
                    <a:pt x="782751" y="1674590"/>
                    <a:pt x="782103" y="1675809"/>
                  </a:cubicBezTo>
                  <a:cubicBezTo>
                    <a:pt x="781506" y="1676939"/>
                    <a:pt x="780934" y="1678108"/>
                    <a:pt x="780388" y="1679314"/>
                  </a:cubicBezTo>
                  <a:cubicBezTo>
                    <a:pt x="779868" y="1680432"/>
                    <a:pt x="779385" y="1681600"/>
                    <a:pt x="778915" y="1682781"/>
                  </a:cubicBezTo>
                  <a:cubicBezTo>
                    <a:pt x="778471" y="1683899"/>
                    <a:pt x="778051" y="1685042"/>
                    <a:pt x="777658" y="1686210"/>
                  </a:cubicBezTo>
                  <a:cubicBezTo>
                    <a:pt x="777277" y="1687328"/>
                    <a:pt x="776909" y="1688458"/>
                    <a:pt x="776566" y="1689601"/>
                  </a:cubicBezTo>
                  <a:cubicBezTo>
                    <a:pt x="776236" y="1690706"/>
                    <a:pt x="775918" y="1691836"/>
                    <a:pt x="775626" y="1692966"/>
                  </a:cubicBezTo>
                  <a:cubicBezTo>
                    <a:pt x="775346" y="1694059"/>
                    <a:pt x="775067" y="1695176"/>
                    <a:pt x="774813" y="1696294"/>
                  </a:cubicBezTo>
                  <a:cubicBezTo>
                    <a:pt x="774572" y="1697386"/>
                    <a:pt x="774343" y="1698478"/>
                    <a:pt x="774127" y="1699583"/>
                  </a:cubicBezTo>
                  <a:cubicBezTo>
                    <a:pt x="773911" y="1700663"/>
                    <a:pt x="773708" y="1701755"/>
                    <a:pt x="773530" y="1702860"/>
                  </a:cubicBezTo>
                  <a:cubicBezTo>
                    <a:pt x="773340" y="1703927"/>
                    <a:pt x="773175" y="1704993"/>
                    <a:pt x="773022" y="1706086"/>
                  </a:cubicBezTo>
                  <a:cubicBezTo>
                    <a:pt x="772870" y="1707140"/>
                    <a:pt x="772730" y="1708207"/>
                    <a:pt x="772603" y="1709286"/>
                  </a:cubicBezTo>
                  <a:cubicBezTo>
                    <a:pt x="772476" y="1710327"/>
                    <a:pt x="772362" y="1711382"/>
                    <a:pt x="772248" y="1712448"/>
                  </a:cubicBezTo>
                  <a:cubicBezTo>
                    <a:pt x="772146" y="1713477"/>
                    <a:pt x="772057" y="1714518"/>
                    <a:pt x="771968" y="1715572"/>
                  </a:cubicBezTo>
                  <a:cubicBezTo>
                    <a:pt x="771892" y="1716601"/>
                    <a:pt x="771816" y="1717630"/>
                    <a:pt x="771752" y="1718671"/>
                  </a:cubicBezTo>
                  <a:cubicBezTo>
                    <a:pt x="771689" y="1719687"/>
                    <a:pt x="771638" y="1720703"/>
                    <a:pt x="771600" y="1721732"/>
                  </a:cubicBezTo>
                  <a:cubicBezTo>
                    <a:pt x="771549" y="1722735"/>
                    <a:pt x="771511" y="1723751"/>
                    <a:pt x="771486" y="1724755"/>
                  </a:cubicBezTo>
                  <a:cubicBezTo>
                    <a:pt x="771460" y="1725758"/>
                    <a:pt x="771448" y="1726748"/>
                    <a:pt x="771435" y="1727752"/>
                  </a:cubicBezTo>
                  <a:cubicBezTo>
                    <a:pt x="771422" y="1728730"/>
                    <a:pt x="771409" y="1729720"/>
                    <a:pt x="771422" y="1730711"/>
                  </a:cubicBezTo>
                  <a:cubicBezTo>
                    <a:pt x="771422" y="1731676"/>
                    <a:pt x="771435" y="1732654"/>
                    <a:pt x="771448" y="1733632"/>
                  </a:cubicBezTo>
                  <a:cubicBezTo>
                    <a:pt x="771460" y="1734597"/>
                    <a:pt x="771486" y="1735550"/>
                    <a:pt x="771524" y="1736515"/>
                  </a:cubicBezTo>
                  <a:cubicBezTo>
                    <a:pt x="771549" y="1737467"/>
                    <a:pt x="771587" y="1738420"/>
                    <a:pt x="771625" y="1739359"/>
                  </a:cubicBezTo>
                  <a:cubicBezTo>
                    <a:pt x="771664" y="1740299"/>
                    <a:pt x="771714" y="1741239"/>
                    <a:pt x="771765" y="1742179"/>
                  </a:cubicBezTo>
                  <a:cubicBezTo>
                    <a:pt x="771816" y="1743106"/>
                    <a:pt x="771879" y="1744033"/>
                    <a:pt x="771943" y="1744947"/>
                  </a:cubicBezTo>
                  <a:cubicBezTo>
                    <a:pt x="772006" y="1745862"/>
                    <a:pt x="772070" y="1746776"/>
                    <a:pt x="772146" y="1747691"/>
                  </a:cubicBezTo>
                  <a:cubicBezTo>
                    <a:pt x="772222" y="1748592"/>
                    <a:pt x="772299" y="1749494"/>
                    <a:pt x="772387" y="1750383"/>
                  </a:cubicBezTo>
                  <a:cubicBezTo>
                    <a:pt x="772463" y="1751272"/>
                    <a:pt x="772552" y="1752161"/>
                    <a:pt x="772641" y="1753050"/>
                  </a:cubicBezTo>
                  <a:cubicBezTo>
                    <a:pt x="772743" y="1753926"/>
                    <a:pt x="772832" y="1754803"/>
                    <a:pt x="772933" y="1755666"/>
                  </a:cubicBezTo>
                  <a:cubicBezTo>
                    <a:pt x="773035" y="1756530"/>
                    <a:pt x="773137" y="1757393"/>
                    <a:pt x="773251" y="1758244"/>
                  </a:cubicBezTo>
                  <a:cubicBezTo>
                    <a:pt x="773353" y="1759108"/>
                    <a:pt x="773467" y="1759959"/>
                    <a:pt x="773581" y="1760797"/>
                  </a:cubicBezTo>
                  <a:cubicBezTo>
                    <a:pt x="773695" y="1761635"/>
                    <a:pt x="773822" y="1762473"/>
                    <a:pt x="773949" y="1763299"/>
                  </a:cubicBezTo>
                  <a:cubicBezTo>
                    <a:pt x="774064" y="1764125"/>
                    <a:pt x="774191" y="1764950"/>
                    <a:pt x="774330" y="1765763"/>
                  </a:cubicBezTo>
                  <a:cubicBezTo>
                    <a:pt x="774458" y="1766576"/>
                    <a:pt x="774584" y="1767376"/>
                    <a:pt x="774724" y="1768176"/>
                  </a:cubicBezTo>
                  <a:cubicBezTo>
                    <a:pt x="774864" y="1768976"/>
                    <a:pt x="775004" y="1769776"/>
                    <a:pt x="775143" y="1770551"/>
                  </a:cubicBezTo>
                  <a:cubicBezTo>
                    <a:pt x="775296" y="1771338"/>
                    <a:pt x="775435" y="1772125"/>
                    <a:pt x="775588" y="1772900"/>
                  </a:cubicBezTo>
                  <a:cubicBezTo>
                    <a:pt x="775740" y="1773662"/>
                    <a:pt x="775893" y="1774437"/>
                    <a:pt x="776045" y="1775186"/>
                  </a:cubicBezTo>
                  <a:cubicBezTo>
                    <a:pt x="728852" y="1791747"/>
                    <a:pt x="679677" y="1802034"/>
                    <a:pt x="629729" y="1805818"/>
                  </a:cubicBezTo>
                  <a:cubicBezTo>
                    <a:pt x="621778" y="1768760"/>
                    <a:pt x="598398" y="1707165"/>
                    <a:pt x="558583" y="1707165"/>
                  </a:cubicBezTo>
                  <a:cubicBezTo>
                    <a:pt x="545693" y="1707165"/>
                    <a:pt x="533615" y="1713744"/>
                    <a:pt x="522833" y="1723954"/>
                  </a:cubicBezTo>
                  <a:cubicBezTo>
                    <a:pt x="522528" y="1724234"/>
                    <a:pt x="522223" y="1724526"/>
                    <a:pt x="521919" y="1724818"/>
                  </a:cubicBezTo>
                  <a:cubicBezTo>
                    <a:pt x="520674" y="1726025"/>
                    <a:pt x="519442" y="1727295"/>
                    <a:pt x="518236" y="1728590"/>
                  </a:cubicBezTo>
                  <a:cubicBezTo>
                    <a:pt x="517080" y="1729834"/>
                    <a:pt x="515950" y="1731117"/>
                    <a:pt x="514819" y="1732425"/>
                  </a:cubicBezTo>
                  <a:cubicBezTo>
                    <a:pt x="513753" y="1733695"/>
                    <a:pt x="512686" y="1734991"/>
                    <a:pt x="511644" y="1736312"/>
                  </a:cubicBezTo>
                  <a:cubicBezTo>
                    <a:pt x="510641" y="1737594"/>
                    <a:pt x="509638" y="1738902"/>
                    <a:pt x="508660" y="1740236"/>
                  </a:cubicBezTo>
                  <a:cubicBezTo>
                    <a:pt x="507707" y="1741544"/>
                    <a:pt x="506768" y="1742865"/>
                    <a:pt x="505853" y="1744211"/>
                  </a:cubicBezTo>
                  <a:cubicBezTo>
                    <a:pt x="504951" y="1745519"/>
                    <a:pt x="504062" y="1746853"/>
                    <a:pt x="503186" y="1748211"/>
                  </a:cubicBezTo>
                  <a:cubicBezTo>
                    <a:pt x="502322" y="1749545"/>
                    <a:pt x="501484" y="1750891"/>
                    <a:pt x="500659" y="1752237"/>
                  </a:cubicBezTo>
                  <a:cubicBezTo>
                    <a:pt x="499833" y="1753584"/>
                    <a:pt x="499033" y="1754930"/>
                    <a:pt x="498246" y="1756301"/>
                  </a:cubicBezTo>
                  <a:cubicBezTo>
                    <a:pt x="497471" y="1757647"/>
                    <a:pt x="496709" y="1759006"/>
                    <a:pt x="495960" y="1760365"/>
                  </a:cubicBezTo>
                  <a:cubicBezTo>
                    <a:pt x="495211" y="1761724"/>
                    <a:pt x="494487" y="1763096"/>
                    <a:pt x="493775" y="1764467"/>
                  </a:cubicBezTo>
                  <a:cubicBezTo>
                    <a:pt x="493064" y="1765826"/>
                    <a:pt x="492366" y="1767198"/>
                    <a:pt x="491693" y="1768569"/>
                  </a:cubicBezTo>
                  <a:cubicBezTo>
                    <a:pt x="491020" y="1769954"/>
                    <a:pt x="490346" y="1771325"/>
                    <a:pt x="489699" y="1772710"/>
                  </a:cubicBezTo>
                  <a:cubicBezTo>
                    <a:pt x="489064" y="1774081"/>
                    <a:pt x="488429" y="1775465"/>
                    <a:pt x="487819" y="1776837"/>
                  </a:cubicBezTo>
                  <a:cubicBezTo>
                    <a:pt x="487197" y="1778234"/>
                    <a:pt x="486600" y="1779618"/>
                    <a:pt x="486016" y="1780990"/>
                  </a:cubicBezTo>
                  <a:cubicBezTo>
                    <a:pt x="485419" y="1782387"/>
                    <a:pt x="484847" y="1783771"/>
                    <a:pt x="484301" y="1785156"/>
                  </a:cubicBezTo>
                  <a:cubicBezTo>
                    <a:pt x="483742" y="1786553"/>
                    <a:pt x="483196" y="1787950"/>
                    <a:pt x="482676" y="1789321"/>
                  </a:cubicBezTo>
                  <a:cubicBezTo>
                    <a:pt x="482142" y="1790731"/>
                    <a:pt x="481634" y="1792128"/>
                    <a:pt x="481152" y="1793512"/>
                  </a:cubicBezTo>
                  <a:cubicBezTo>
                    <a:pt x="480644" y="1794922"/>
                    <a:pt x="480161" y="1796319"/>
                    <a:pt x="479704" y="1797703"/>
                  </a:cubicBezTo>
                  <a:cubicBezTo>
                    <a:pt x="430479" y="1788521"/>
                    <a:pt x="382727" y="1772900"/>
                    <a:pt x="337578" y="1751221"/>
                  </a:cubicBezTo>
                  <a:cubicBezTo>
                    <a:pt x="349262" y="1715128"/>
                    <a:pt x="359880" y="1650041"/>
                    <a:pt x="325348" y="1630114"/>
                  </a:cubicBezTo>
                  <a:cubicBezTo>
                    <a:pt x="318719" y="1626279"/>
                    <a:pt x="311150" y="1624603"/>
                    <a:pt x="303085" y="1624603"/>
                  </a:cubicBezTo>
                  <a:cubicBezTo>
                    <a:pt x="272961" y="1624603"/>
                    <a:pt x="235611" y="1647882"/>
                    <a:pt x="211836" y="1668989"/>
                  </a:cubicBezTo>
                  <a:cubicBezTo>
                    <a:pt x="173813" y="1636350"/>
                    <a:pt x="140272" y="1598974"/>
                    <a:pt x="112014" y="1557763"/>
                  </a:cubicBezTo>
                  <a:cubicBezTo>
                    <a:pt x="113284" y="1556607"/>
                    <a:pt x="114580" y="1555413"/>
                    <a:pt x="115888" y="1554169"/>
                  </a:cubicBezTo>
                  <a:cubicBezTo>
                    <a:pt x="117132" y="1552975"/>
                    <a:pt x="118402" y="1551743"/>
                    <a:pt x="119685" y="1550473"/>
                  </a:cubicBezTo>
                  <a:cubicBezTo>
                    <a:pt x="120536" y="1549635"/>
                    <a:pt x="121400" y="1548771"/>
                    <a:pt x="122263" y="1547895"/>
                  </a:cubicBezTo>
                  <a:cubicBezTo>
                    <a:pt x="148959" y="1520641"/>
                    <a:pt x="179413" y="1477207"/>
                    <a:pt x="161862" y="1446778"/>
                  </a:cubicBezTo>
                  <a:cubicBezTo>
                    <a:pt x="149898" y="1426039"/>
                    <a:pt x="119647" y="1419079"/>
                    <a:pt x="89091" y="1419079"/>
                  </a:cubicBezTo>
                  <a:cubicBezTo>
                    <a:pt x="73318" y="1419079"/>
                    <a:pt x="57455" y="1420933"/>
                    <a:pt x="43993" y="1423714"/>
                  </a:cubicBezTo>
                  <a:cubicBezTo>
                    <a:pt x="27420" y="1376598"/>
                    <a:pt x="17120" y="1327436"/>
                    <a:pt x="13323" y="1277386"/>
                  </a:cubicBezTo>
                  <a:cubicBezTo>
                    <a:pt x="14618" y="1277119"/>
                    <a:pt x="15939" y="1276814"/>
                    <a:pt x="17285" y="1276497"/>
                  </a:cubicBezTo>
                  <a:cubicBezTo>
                    <a:pt x="18594" y="1276192"/>
                    <a:pt x="19927" y="1275874"/>
                    <a:pt x="21286" y="1275531"/>
                  </a:cubicBezTo>
                  <a:cubicBezTo>
                    <a:pt x="22594" y="1275201"/>
                    <a:pt x="23927" y="1274858"/>
                    <a:pt x="25274" y="1274490"/>
                  </a:cubicBezTo>
                  <a:cubicBezTo>
                    <a:pt x="26594" y="1274134"/>
                    <a:pt x="27928" y="1273766"/>
                    <a:pt x="29274" y="1273372"/>
                  </a:cubicBezTo>
                  <a:cubicBezTo>
                    <a:pt x="30595" y="1272991"/>
                    <a:pt x="31928" y="1272598"/>
                    <a:pt x="33275" y="1272191"/>
                  </a:cubicBezTo>
                  <a:cubicBezTo>
                    <a:pt x="34595" y="1271785"/>
                    <a:pt x="35942" y="1271366"/>
                    <a:pt x="37275" y="1270934"/>
                  </a:cubicBezTo>
                  <a:cubicBezTo>
                    <a:pt x="38609" y="1270502"/>
                    <a:pt x="39942" y="1270058"/>
                    <a:pt x="41288" y="1269598"/>
                  </a:cubicBezTo>
                  <a:cubicBezTo>
                    <a:pt x="42622" y="1269142"/>
                    <a:pt x="43968" y="1268661"/>
                    <a:pt x="45301" y="1268179"/>
                  </a:cubicBezTo>
                  <a:cubicBezTo>
                    <a:pt x="46635" y="1267693"/>
                    <a:pt x="47981" y="1267203"/>
                    <a:pt x="49315" y="1266682"/>
                  </a:cubicBezTo>
                  <a:cubicBezTo>
                    <a:pt x="50648" y="1266170"/>
                    <a:pt x="51982" y="1265639"/>
                    <a:pt x="53328" y="1265103"/>
                  </a:cubicBezTo>
                  <a:cubicBezTo>
                    <a:pt x="54661" y="1264559"/>
                    <a:pt x="55995" y="1263997"/>
                    <a:pt x="57328" y="1263427"/>
                  </a:cubicBezTo>
                  <a:cubicBezTo>
                    <a:pt x="58662" y="1262841"/>
                    <a:pt x="60008" y="1262261"/>
                    <a:pt x="61329" y="1261652"/>
                  </a:cubicBezTo>
                  <a:cubicBezTo>
                    <a:pt x="62675" y="1261041"/>
                    <a:pt x="64008" y="1260406"/>
                    <a:pt x="65329" y="1259755"/>
                  </a:cubicBezTo>
                  <a:cubicBezTo>
                    <a:pt x="66663" y="1259111"/>
                    <a:pt x="67996" y="1258451"/>
                    <a:pt x="69304" y="1257767"/>
                  </a:cubicBezTo>
                  <a:cubicBezTo>
                    <a:pt x="70651" y="1257067"/>
                    <a:pt x="71971" y="1256353"/>
                    <a:pt x="73280" y="1255628"/>
                  </a:cubicBezTo>
                  <a:cubicBezTo>
                    <a:pt x="74626" y="1254880"/>
                    <a:pt x="75934" y="1254131"/>
                    <a:pt x="77229" y="1253356"/>
                  </a:cubicBezTo>
                  <a:cubicBezTo>
                    <a:pt x="78575" y="1252557"/>
                    <a:pt x="79883" y="1251729"/>
                    <a:pt x="81179" y="1250906"/>
                  </a:cubicBezTo>
                  <a:cubicBezTo>
                    <a:pt x="82512" y="1250042"/>
                    <a:pt x="83820" y="1249155"/>
                    <a:pt x="85090" y="1248252"/>
                  </a:cubicBezTo>
                  <a:cubicBezTo>
                    <a:pt x="86411" y="1247323"/>
                    <a:pt x="87707" y="1246371"/>
                    <a:pt x="88964" y="1245394"/>
                  </a:cubicBezTo>
                  <a:cubicBezTo>
                    <a:pt x="90285" y="1244367"/>
                    <a:pt x="91567" y="1243310"/>
                    <a:pt x="92812" y="1242235"/>
                  </a:cubicBezTo>
                  <a:cubicBezTo>
                    <a:pt x="94120" y="1241103"/>
                    <a:pt x="95390" y="1239932"/>
                    <a:pt x="96597" y="1238742"/>
                  </a:cubicBezTo>
                  <a:cubicBezTo>
                    <a:pt x="97346" y="1238003"/>
                    <a:pt x="98082" y="1237243"/>
                    <a:pt x="98781" y="1236479"/>
                  </a:cubicBezTo>
                  <a:cubicBezTo>
                    <a:pt x="106884" y="1227753"/>
                    <a:pt x="111938" y="1217697"/>
                    <a:pt x="111938" y="1206277"/>
                  </a:cubicBezTo>
                  <a:cubicBezTo>
                    <a:pt x="111976" y="1169968"/>
                    <a:pt x="59741" y="1140073"/>
                    <a:pt x="21425" y="1127358"/>
                  </a:cubicBezTo>
                  <a:cubicBezTo>
                    <a:pt x="30608" y="1078161"/>
                    <a:pt x="46241" y="1030422"/>
                    <a:pt x="67920" y="985274"/>
                  </a:cubicBezTo>
                  <a:cubicBezTo>
                    <a:pt x="68479" y="985467"/>
                    <a:pt x="69050" y="985641"/>
                    <a:pt x="69635" y="985818"/>
                  </a:cubicBezTo>
                  <a:cubicBezTo>
                    <a:pt x="70206" y="986013"/>
                    <a:pt x="70790" y="986185"/>
                    <a:pt x="71387" y="986364"/>
                  </a:cubicBezTo>
                  <a:cubicBezTo>
                    <a:pt x="71971" y="986543"/>
                    <a:pt x="72581" y="986737"/>
                    <a:pt x="73178" y="986911"/>
                  </a:cubicBezTo>
                  <a:cubicBezTo>
                    <a:pt x="73787" y="987088"/>
                    <a:pt x="74410" y="987267"/>
                    <a:pt x="75032" y="987445"/>
                  </a:cubicBezTo>
                  <a:cubicBezTo>
                    <a:pt x="75654" y="987624"/>
                    <a:pt x="76277" y="987803"/>
                    <a:pt x="76912" y="987976"/>
                  </a:cubicBezTo>
                  <a:cubicBezTo>
                    <a:pt x="77547" y="988155"/>
                    <a:pt x="78194" y="988334"/>
                    <a:pt x="78842" y="988512"/>
                  </a:cubicBezTo>
                  <a:cubicBezTo>
                    <a:pt x="79490" y="988691"/>
                    <a:pt x="80150" y="988870"/>
                    <a:pt x="80823" y="989033"/>
                  </a:cubicBezTo>
                  <a:cubicBezTo>
                    <a:pt x="81484" y="989212"/>
                    <a:pt x="82157" y="989391"/>
                    <a:pt x="82830" y="989555"/>
                  </a:cubicBezTo>
                  <a:cubicBezTo>
                    <a:pt x="83516" y="989732"/>
                    <a:pt x="84201" y="989896"/>
                    <a:pt x="84887" y="990060"/>
                  </a:cubicBezTo>
                  <a:cubicBezTo>
                    <a:pt x="85586" y="990239"/>
                    <a:pt x="86284" y="990403"/>
                    <a:pt x="86995" y="990571"/>
                  </a:cubicBezTo>
                  <a:cubicBezTo>
                    <a:pt x="87707" y="990735"/>
                    <a:pt x="88418" y="990898"/>
                    <a:pt x="89142" y="991067"/>
                  </a:cubicBezTo>
                  <a:cubicBezTo>
                    <a:pt x="89866" y="991231"/>
                    <a:pt x="90590" y="991385"/>
                    <a:pt x="91326" y="991549"/>
                  </a:cubicBezTo>
                  <a:cubicBezTo>
                    <a:pt x="92063" y="991712"/>
                    <a:pt x="92812" y="991866"/>
                    <a:pt x="93561" y="992020"/>
                  </a:cubicBezTo>
                  <a:cubicBezTo>
                    <a:pt x="94311" y="992168"/>
                    <a:pt x="95060" y="992322"/>
                    <a:pt x="95822" y="992476"/>
                  </a:cubicBezTo>
                  <a:cubicBezTo>
                    <a:pt x="96597" y="992625"/>
                    <a:pt x="97371" y="992779"/>
                    <a:pt x="98133" y="992918"/>
                  </a:cubicBezTo>
                  <a:cubicBezTo>
                    <a:pt x="98921" y="993071"/>
                    <a:pt x="99708" y="993211"/>
                    <a:pt x="100495" y="993349"/>
                  </a:cubicBezTo>
                  <a:cubicBezTo>
                    <a:pt x="101296" y="993488"/>
                    <a:pt x="102096" y="993633"/>
                    <a:pt x="102896" y="993756"/>
                  </a:cubicBezTo>
                  <a:cubicBezTo>
                    <a:pt x="103709" y="993895"/>
                    <a:pt x="104521" y="994024"/>
                    <a:pt x="105334" y="994153"/>
                  </a:cubicBezTo>
                  <a:cubicBezTo>
                    <a:pt x="106160" y="994276"/>
                    <a:pt x="106985" y="994406"/>
                    <a:pt x="107811" y="994520"/>
                  </a:cubicBezTo>
                  <a:cubicBezTo>
                    <a:pt x="108649" y="994635"/>
                    <a:pt x="109487" y="994758"/>
                    <a:pt x="110325" y="994862"/>
                  </a:cubicBezTo>
                  <a:cubicBezTo>
                    <a:pt x="111176" y="994976"/>
                    <a:pt x="112040" y="995075"/>
                    <a:pt x="112891" y="995179"/>
                  </a:cubicBezTo>
                  <a:cubicBezTo>
                    <a:pt x="113754" y="995278"/>
                    <a:pt x="114631" y="995383"/>
                    <a:pt x="115494" y="995473"/>
                  </a:cubicBezTo>
                  <a:cubicBezTo>
                    <a:pt x="116383" y="995572"/>
                    <a:pt x="117260" y="995651"/>
                    <a:pt x="118136" y="995741"/>
                  </a:cubicBezTo>
                  <a:cubicBezTo>
                    <a:pt x="119025" y="995814"/>
                    <a:pt x="119926" y="995889"/>
                    <a:pt x="120828" y="995968"/>
                  </a:cubicBezTo>
                  <a:cubicBezTo>
                    <a:pt x="121730" y="996028"/>
                    <a:pt x="122631" y="996093"/>
                    <a:pt x="123546" y="996147"/>
                  </a:cubicBezTo>
                  <a:cubicBezTo>
                    <a:pt x="124473" y="996207"/>
                    <a:pt x="125387" y="996261"/>
                    <a:pt x="126315" y="996296"/>
                  </a:cubicBezTo>
                  <a:cubicBezTo>
                    <a:pt x="127242" y="996335"/>
                    <a:pt x="128182" y="996376"/>
                    <a:pt x="129121" y="996400"/>
                  </a:cubicBezTo>
                  <a:cubicBezTo>
                    <a:pt x="130074" y="996425"/>
                    <a:pt x="131013" y="996435"/>
                    <a:pt x="131953" y="996449"/>
                  </a:cubicBezTo>
                  <a:cubicBezTo>
                    <a:pt x="132385" y="996449"/>
                    <a:pt x="132804" y="996449"/>
                    <a:pt x="133223" y="996449"/>
                  </a:cubicBezTo>
                  <a:cubicBezTo>
                    <a:pt x="133770" y="996449"/>
                    <a:pt x="134303" y="996449"/>
                    <a:pt x="134849" y="996449"/>
                  </a:cubicBezTo>
                  <a:cubicBezTo>
                    <a:pt x="135827" y="996435"/>
                    <a:pt x="136792" y="996410"/>
                    <a:pt x="137770" y="996386"/>
                  </a:cubicBezTo>
                  <a:cubicBezTo>
                    <a:pt x="138760" y="996345"/>
                    <a:pt x="139751" y="996311"/>
                    <a:pt x="140742" y="996246"/>
                  </a:cubicBezTo>
                  <a:cubicBezTo>
                    <a:pt x="141745" y="996197"/>
                    <a:pt x="142748" y="996118"/>
                    <a:pt x="143752" y="996043"/>
                  </a:cubicBezTo>
                  <a:cubicBezTo>
                    <a:pt x="144768" y="995954"/>
                    <a:pt x="145784" y="995855"/>
                    <a:pt x="146787" y="995751"/>
                  </a:cubicBezTo>
                  <a:cubicBezTo>
                    <a:pt x="147828" y="995637"/>
                    <a:pt x="148857" y="995512"/>
                    <a:pt x="149873" y="995359"/>
                  </a:cubicBezTo>
                  <a:cubicBezTo>
                    <a:pt x="150927" y="995205"/>
                    <a:pt x="151969" y="995041"/>
                    <a:pt x="152997" y="994862"/>
                  </a:cubicBezTo>
                  <a:cubicBezTo>
                    <a:pt x="155321" y="994456"/>
                    <a:pt x="157595" y="993959"/>
                    <a:pt x="159804" y="993373"/>
                  </a:cubicBezTo>
                  <a:cubicBezTo>
                    <a:pt x="162370" y="992689"/>
                    <a:pt x="164846" y="991876"/>
                    <a:pt x="167221" y="990938"/>
                  </a:cubicBezTo>
                  <a:cubicBezTo>
                    <a:pt x="169342" y="990086"/>
                    <a:pt x="171374" y="989133"/>
                    <a:pt x="173317" y="988066"/>
                  </a:cubicBezTo>
                  <a:cubicBezTo>
                    <a:pt x="175082" y="987078"/>
                    <a:pt x="176784" y="985997"/>
                    <a:pt x="178384" y="984816"/>
                  </a:cubicBezTo>
                  <a:cubicBezTo>
                    <a:pt x="179858" y="983725"/>
                    <a:pt x="181267" y="982529"/>
                    <a:pt x="182588" y="981250"/>
                  </a:cubicBezTo>
                  <a:cubicBezTo>
                    <a:pt x="183325" y="980525"/>
                    <a:pt x="184023" y="979776"/>
                    <a:pt x="184709" y="978997"/>
                  </a:cubicBezTo>
                  <a:cubicBezTo>
                    <a:pt x="186296" y="977172"/>
                    <a:pt x="187732" y="975177"/>
                    <a:pt x="188989" y="973004"/>
                  </a:cubicBezTo>
                  <a:cubicBezTo>
                    <a:pt x="207137" y="941587"/>
                    <a:pt x="176899" y="889631"/>
                    <a:pt x="150114" y="859493"/>
                  </a:cubicBezTo>
                  <a:cubicBezTo>
                    <a:pt x="160122" y="847836"/>
                    <a:pt x="170587" y="836594"/>
                    <a:pt x="181471" y="825799"/>
                  </a:cubicBezTo>
                  <a:cubicBezTo>
                    <a:pt x="182144" y="825140"/>
                    <a:pt x="182804" y="824479"/>
                    <a:pt x="183477" y="823820"/>
                  </a:cubicBezTo>
                  <a:cubicBezTo>
                    <a:pt x="184150" y="823160"/>
                    <a:pt x="184823" y="822501"/>
                    <a:pt x="185496" y="821850"/>
                  </a:cubicBezTo>
                  <a:cubicBezTo>
                    <a:pt x="186106" y="821255"/>
                    <a:pt x="186728" y="820654"/>
                    <a:pt x="187338" y="820060"/>
                  </a:cubicBezTo>
                  <a:cubicBezTo>
                    <a:pt x="187998" y="819425"/>
                    <a:pt x="188659" y="818790"/>
                    <a:pt x="189319" y="818169"/>
                  </a:cubicBezTo>
                  <a:cubicBezTo>
                    <a:pt x="189941" y="817569"/>
                    <a:pt x="190564" y="816973"/>
                    <a:pt x="191186" y="816378"/>
                  </a:cubicBezTo>
                  <a:cubicBezTo>
                    <a:pt x="191834" y="815768"/>
                    <a:pt x="192481" y="815173"/>
                    <a:pt x="193129" y="814563"/>
                  </a:cubicBezTo>
                  <a:cubicBezTo>
                    <a:pt x="193790" y="813937"/>
                    <a:pt x="194450" y="813317"/>
                    <a:pt x="195110" y="812708"/>
                  </a:cubicBezTo>
                  <a:cubicBezTo>
                    <a:pt x="195745" y="812112"/>
                    <a:pt x="196393" y="811511"/>
                    <a:pt x="197028" y="810926"/>
                  </a:cubicBezTo>
                  <a:cubicBezTo>
                    <a:pt x="197688" y="810321"/>
                    <a:pt x="198362" y="809710"/>
                    <a:pt x="199022" y="809101"/>
                  </a:cubicBezTo>
                  <a:cubicBezTo>
                    <a:pt x="199670" y="808515"/>
                    <a:pt x="200305" y="807930"/>
                    <a:pt x="200952" y="807349"/>
                  </a:cubicBezTo>
                  <a:cubicBezTo>
                    <a:pt x="201613" y="806749"/>
                    <a:pt x="202273" y="806153"/>
                    <a:pt x="202934" y="805569"/>
                  </a:cubicBezTo>
                  <a:cubicBezTo>
                    <a:pt x="203607" y="804973"/>
                    <a:pt x="204280" y="804373"/>
                    <a:pt x="204953" y="803777"/>
                  </a:cubicBezTo>
                  <a:cubicBezTo>
                    <a:pt x="205600" y="803191"/>
                    <a:pt x="206261" y="802611"/>
                    <a:pt x="206921" y="802036"/>
                  </a:cubicBezTo>
                  <a:cubicBezTo>
                    <a:pt x="207594" y="801441"/>
                    <a:pt x="208268" y="800856"/>
                    <a:pt x="208953" y="800260"/>
                  </a:cubicBezTo>
                  <a:cubicBezTo>
                    <a:pt x="209601" y="799690"/>
                    <a:pt x="210261" y="799119"/>
                    <a:pt x="210934" y="798543"/>
                  </a:cubicBezTo>
                  <a:cubicBezTo>
                    <a:pt x="211976" y="797645"/>
                    <a:pt x="213017" y="796758"/>
                    <a:pt x="214071" y="795855"/>
                  </a:cubicBezTo>
                  <a:cubicBezTo>
                    <a:pt x="215417" y="794709"/>
                    <a:pt x="216764" y="793583"/>
                    <a:pt x="218123" y="792437"/>
                  </a:cubicBezTo>
                  <a:cubicBezTo>
                    <a:pt x="219482" y="791306"/>
                    <a:pt x="220840" y="790189"/>
                    <a:pt x="222199" y="789073"/>
                  </a:cubicBezTo>
                  <a:cubicBezTo>
                    <a:pt x="223571" y="787952"/>
                    <a:pt x="224942" y="786836"/>
                    <a:pt x="226327" y="785729"/>
                  </a:cubicBezTo>
                  <a:cubicBezTo>
                    <a:pt x="227698" y="784628"/>
                    <a:pt x="229083" y="783522"/>
                    <a:pt x="230467" y="782431"/>
                  </a:cubicBezTo>
                  <a:cubicBezTo>
                    <a:pt x="231851" y="781339"/>
                    <a:pt x="233248" y="780248"/>
                    <a:pt x="234645" y="779166"/>
                  </a:cubicBezTo>
                  <a:cubicBezTo>
                    <a:pt x="236042" y="778085"/>
                    <a:pt x="237452" y="777008"/>
                    <a:pt x="238862" y="775941"/>
                  </a:cubicBezTo>
                  <a:cubicBezTo>
                    <a:pt x="240259" y="774876"/>
                    <a:pt x="241668" y="773809"/>
                    <a:pt x="243091" y="772752"/>
                  </a:cubicBezTo>
                  <a:cubicBezTo>
                    <a:pt x="244513" y="771701"/>
                    <a:pt x="245923" y="770658"/>
                    <a:pt x="247358" y="769601"/>
                  </a:cubicBezTo>
                  <a:cubicBezTo>
                    <a:pt x="248780" y="768560"/>
                    <a:pt x="250215" y="767533"/>
                    <a:pt x="251651" y="766506"/>
                  </a:cubicBezTo>
                  <a:cubicBezTo>
                    <a:pt x="253086" y="765474"/>
                    <a:pt x="254533" y="764448"/>
                    <a:pt x="255981" y="763430"/>
                  </a:cubicBezTo>
                  <a:cubicBezTo>
                    <a:pt x="257429" y="762413"/>
                    <a:pt x="258877" y="761396"/>
                    <a:pt x="260337" y="760394"/>
                  </a:cubicBezTo>
                  <a:cubicBezTo>
                    <a:pt x="260680" y="760156"/>
                    <a:pt x="261036" y="759913"/>
                    <a:pt x="261379" y="759685"/>
                  </a:cubicBezTo>
                  <a:cubicBezTo>
                    <a:pt x="266497" y="765335"/>
                    <a:pt x="272656" y="771532"/>
                    <a:pt x="279514" y="777668"/>
                  </a:cubicBezTo>
                  <a:cubicBezTo>
                    <a:pt x="283324" y="781081"/>
                    <a:pt x="287350" y="784474"/>
                    <a:pt x="291541" y="787738"/>
                  </a:cubicBezTo>
                  <a:cubicBezTo>
                    <a:pt x="294462" y="790025"/>
                    <a:pt x="297459" y="792258"/>
                    <a:pt x="300520" y="794382"/>
                  </a:cubicBezTo>
                  <a:cubicBezTo>
                    <a:pt x="302958" y="796083"/>
                    <a:pt x="305448" y="797720"/>
                    <a:pt x="307950" y="799282"/>
                  </a:cubicBezTo>
                  <a:cubicBezTo>
                    <a:pt x="310058" y="800602"/>
                    <a:pt x="312179" y="801848"/>
                    <a:pt x="314325" y="803043"/>
                  </a:cubicBezTo>
                  <a:cubicBezTo>
                    <a:pt x="316179" y="804070"/>
                    <a:pt x="318046" y="805062"/>
                    <a:pt x="319926" y="805975"/>
                  </a:cubicBezTo>
                  <a:cubicBezTo>
                    <a:pt x="321577" y="806798"/>
                    <a:pt x="323240" y="807563"/>
                    <a:pt x="324891" y="808287"/>
                  </a:cubicBezTo>
                  <a:cubicBezTo>
                    <a:pt x="326390" y="808937"/>
                    <a:pt x="327876" y="809533"/>
                    <a:pt x="329362" y="810093"/>
                  </a:cubicBezTo>
                  <a:cubicBezTo>
                    <a:pt x="330695" y="810598"/>
                    <a:pt x="332029" y="811071"/>
                    <a:pt x="333362" y="811487"/>
                  </a:cubicBezTo>
                  <a:cubicBezTo>
                    <a:pt x="334556" y="811868"/>
                    <a:pt x="335750" y="812226"/>
                    <a:pt x="336931" y="812544"/>
                  </a:cubicBezTo>
                  <a:cubicBezTo>
                    <a:pt x="337998" y="812831"/>
                    <a:pt x="339064" y="813089"/>
                    <a:pt x="340118" y="813327"/>
                  </a:cubicBezTo>
                  <a:cubicBezTo>
                    <a:pt x="341046" y="813531"/>
                    <a:pt x="341960" y="813710"/>
                    <a:pt x="342887" y="813873"/>
                  </a:cubicBezTo>
                  <a:cubicBezTo>
                    <a:pt x="343675" y="814017"/>
                    <a:pt x="344462" y="814131"/>
                    <a:pt x="345237" y="814230"/>
                  </a:cubicBezTo>
                  <a:cubicBezTo>
                    <a:pt x="345872" y="814319"/>
                    <a:pt x="346507" y="814394"/>
                    <a:pt x="347129" y="814459"/>
                  </a:cubicBezTo>
                  <a:cubicBezTo>
                    <a:pt x="347586" y="814498"/>
                    <a:pt x="348031" y="814538"/>
                    <a:pt x="348488" y="814572"/>
                  </a:cubicBezTo>
                  <a:cubicBezTo>
                    <a:pt x="348716" y="814587"/>
                    <a:pt x="348945" y="814613"/>
                    <a:pt x="349174" y="814621"/>
                  </a:cubicBezTo>
                  <a:cubicBezTo>
                    <a:pt x="350177" y="814686"/>
                    <a:pt x="351193" y="814712"/>
                    <a:pt x="352184" y="814712"/>
                  </a:cubicBezTo>
                  <a:cubicBezTo>
                    <a:pt x="359283" y="814712"/>
                    <a:pt x="366077" y="813138"/>
                    <a:pt x="372326" y="809533"/>
                  </a:cubicBezTo>
                  <a:cubicBezTo>
                    <a:pt x="376110" y="807349"/>
                    <a:pt x="379425" y="804566"/>
                    <a:pt x="382333" y="801278"/>
                  </a:cubicBezTo>
                  <a:cubicBezTo>
                    <a:pt x="403644" y="777211"/>
                    <a:pt x="402590" y="726421"/>
                    <a:pt x="395402" y="691650"/>
                  </a:cubicBezTo>
                  <a:cubicBezTo>
                    <a:pt x="396799" y="691155"/>
                    <a:pt x="398196" y="690674"/>
                    <a:pt x="399605" y="690192"/>
                  </a:cubicBezTo>
                  <a:cubicBezTo>
                    <a:pt x="401002" y="689706"/>
                    <a:pt x="402399" y="689240"/>
                    <a:pt x="403809" y="688769"/>
                  </a:cubicBezTo>
                  <a:cubicBezTo>
                    <a:pt x="405193" y="688297"/>
                    <a:pt x="406590" y="687840"/>
                    <a:pt x="407987" y="687384"/>
                  </a:cubicBezTo>
                  <a:cubicBezTo>
                    <a:pt x="409371" y="686937"/>
                    <a:pt x="410756" y="686497"/>
                    <a:pt x="412127" y="686050"/>
                  </a:cubicBezTo>
                  <a:cubicBezTo>
                    <a:pt x="413512" y="685618"/>
                    <a:pt x="414883" y="685186"/>
                    <a:pt x="416267" y="684755"/>
                  </a:cubicBezTo>
                  <a:cubicBezTo>
                    <a:pt x="417639" y="684334"/>
                    <a:pt x="419011" y="683916"/>
                    <a:pt x="420382" y="683510"/>
                  </a:cubicBezTo>
                  <a:cubicBezTo>
                    <a:pt x="421741" y="683103"/>
                    <a:pt x="423113" y="682697"/>
                    <a:pt x="424472" y="682289"/>
                  </a:cubicBezTo>
                  <a:cubicBezTo>
                    <a:pt x="425831" y="681898"/>
                    <a:pt x="427189" y="681505"/>
                    <a:pt x="428548" y="681123"/>
                  </a:cubicBezTo>
                  <a:cubicBezTo>
                    <a:pt x="429895" y="680741"/>
                    <a:pt x="431241" y="680360"/>
                    <a:pt x="432587" y="679993"/>
                  </a:cubicBezTo>
                  <a:cubicBezTo>
                    <a:pt x="433920" y="679626"/>
                    <a:pt x="435267" y="679254"/>
                    <a:pt x="436600" y="678887"/>
                  </a:cubicBezTo>
                  <a:cubicBezTo>
                    <a:pt x="437934" y="678529"/>
                    <a:pt x="439254" y="678187"/>
                    <a:pt x="440588" y="677834"/>
                  </a:cubicBezTo>
                  <a:cubicBezTo>
                    <a:pt x="441909" y="677492"/>
                    <a:pt x="443230" y="677160"/>
                    <a:pt x="444550" y="676818"/>
                  </a:cubicBezTo>
                  <a:cubicBezTo>
                    <a:pt x="445858" y="676485"/>
                    <a:pt x="447179" y="676157"/>
                    <a:pt x="448487" y="675840"/>
                  </a:cubicBezTo>
                  <a:cubicBezTo>
                    <a:pt x="449783" y="675523"/>
                    <a:pt x="451078" y="675205"/>
                    <a:pt x="452374" y="674898"/>
                  </a:cubicBezTo>
                  <a:cubicBezTo>
                    <a:pt x="453656" y="674595"/>
                    <a:pt x="454952" y="674287"/>
                    <a:pt x="456247" y="674000"/>
                  </a:cubicBezTo>
                  <a:cubicBezTo>
                    <a:pt x="457517" y="673692"/>
                    <a:pt x="458787" y="673414"/>
                    <a:pt x="460057" y="673121"/>
                  </a:cubicBezTo>
                  <a:cubicBezTo>
                    <a:pt x="461327" y="672844"/>
                    <a:pt x="462584" y="672561"/>
                    <a:pt x="463842" y="672298"/>
                  </a:cubicBezTo>
                  <a:cubicBezTo>
                    <a:pt x="465099" y="672015"/>
                    <a:pt x="466344" y="671747"/>
                    <a:pt x="467588" y="671494"/>
                  </a:cubicBezTo>
                  <a:cubicBezTo>
                    <a:pt x="468820" y="671241"/>
                    <a:pt x="470052" y="670989"/>
                    <a:pt x="471284" y="670736"/>
                  </a:cubicBezTo>
                  <a:cubicBezTo>
                    <a:pt x="472503" y="670492"/>
                    <a:pt x="473710" y="670249"/>
                    <a:pt x="474929" y="670011"/>
                  </a:cubicBezTo>
                  <a:cubicBezTo>
                    <a:pt x="476122" y="669768"/>
                    <a:pt x="477329" y="669540"/>
                    <a:pt x="478523" y="669311"/>
                  </a:cubicBezTo>
                  <a:cubicBezTo>
                    <a:pt x="479704" y="669094"/>
                    <a:pt x="480885" y="668880"/>
                    <a:pt x="482066" y="668662"/>
                  </a:cubicBezTo>
                  <a:cubicBezTo>
                    <a:pt x="483222" y="668449"/>
                    <a:pt x="484377" y="668230"/>
                    <a:pt x="485533" y="668027"/>
                  </a:cubicBezTo>
                  <a:cubicBezTo>
                    <a:pt x="486676" y="667838"/>
                    <a:pt x="487807" y="667635"/>
                    <a:pt x="488937" y="667447"/>
                  </a:cubicBezTo>
                  <a:cubicBezTo>
                    <a:pt x="490054" y="667252"/>
                    <a:pt x="491159" y="667074"/>
                    <a:pt x="492277" y="666885"/>
                  </a:cubicBezTo>
                  <a:cubicBezTo>
                    <a:pt x="493356" y="666707"/>
                    <a:pt x="494436" y="666544"/>
                    <a:pt x="495515" y="666365"/>
                  </a:cubicBezTo>
                  <a:cubicBezTo>
                    <a:pt x="496569" y="666201"/>
                    <a:pt x="497624" y="666032"/>
                    <a:pt x="498678" y="665869"/>
                  </a:cubicBezTo>
                  <a:cubicBezTo>
                    <a:pt x="499694" y="665714"/>
                    <a:pt x="500722" y="665566"/>
                    <a:pt x="501738" y="665412"/>
                  </a:cubicBezTo>
                  <a:cubicBezTo>
                    <a:pt x="502716" y="665274"/>
                    <a:pt x="503694" y="665134"/>
                    <a:pt x="504672" y="664996"/>
                  </a:cubicBezTo>
                  <a:cubicBezTo>
                    <a:pt x="505612" y="664866"/>
                    <a:pt x="506552" y="664728"/>
                    <a:pt x="507491" y="664599"/>
                  </a:cubicBezTo>
                  <a:cubicBezTo>
                    <a:pt x="508380" y="664485"/>
                    <a:pt x="509269" y="664361"/>
                    <a:pt x="510146" y="664241"/>
                  </a:cubicBezTo>
                  <a:cubicBezTo>
                    <a:pt x="510984" y="664142"/>
                    <a:pt x="511809" y="664028"/>
                    <a:pt x="512648" y="663924"/>
                  </a:cubicBezTo>
                  <a:cubicBezTo>
                    <a:pt x="513410" y="663825"/>
                    <a:pt x="514159" y="663736"/>
                    <a:pt x="514921" y="663637"/>
                  </a:cubicBezTo>
                  <a:cubicBezTo>
                    <a:pt x="515607" y="663557"/>
                    <a:pt x="516280" y="663468"/>
                    <a:pt x="516953" y="663393"/>
                  </a:cubicBezTo>
                  <a:cubicBezTo>
                    <a:pt x="517524" y="663329"/>
                    <a:pt x="518096" y="663254"/>
                    <a:pt x="518680" y="663190"/>
                  </a:cubicBezTo>
                  <a:cubicBezTo>
                    <a:pt x="519112" y="663140"/>
                    <a:pt x="519544" y="663085"/>
                    <a:pt x="519975" y="663036"/>
                  </a:cubicBezTo>
                  <a:cubicBezTo>
                    <a:pt x="520229" y="663012"/>
                    <a:pt x="520471" y="662986"/>
                    <a:pt x="520712" y="662961"/>
                  </a:cubicBezTo>
                  <a:cubicBezTo>
                    <a:pt x="527697" y="662163"/>
                    <a:pt x="534695" y="661513"/>
                    <a:pt x="541718" y="660982"/>
                  </a:cubicBezTo>
                  <a:cubicBezTo>
                    <a:pt x="546391" y="682711"/>
                    <a:pt x="556374" y="712873"/>
                    <a:pt x="571855" y="734106"/>
                  </a:cubicBezTo>
                  <a:cubicBezTo>
                    <a:pt x="572058" y="734398"/>
                    <a:pt x="572274" y="734676"/>
                    <a:pt x="572477" y="734970"/>
                  </a:cubicBezTo>
                  <a:cubicBezTo>
                    <a:pt x="572706" y="735277"/>
                    <a:pt x="572934" y="735579"/>
                    <a:pt x="573176" y="735882"/>
                  </a:cubicBezTo>
                  <a:cubicBezTo>
                    <a:pt x="573417" y="736199"/>
                    <a:pt x="573671" y="736532"/>
                    <a:pt x="573925" y="736849"/>
                  </a:cubicBezTo>
                  <a:cubicBezTo>
                    <a:pt x="574192" y="737192"/>
                    <a:pt x="574458" y="737534"/>
                    <a:pt x="574725" y="737867"/>
                  </a:cubicBezTo>
                  <a:cubicBezTo>
                    <a:pt x="575017" y="738234"/>
                    <a:pt x="575309" y="738591"/>
                    <a:pt x="575601" y="738944"/>
                  </a:cubicBezTo>
                  <a:cubicBezTo>
                    <a:pt x="575919" y="739325"/>
                    <a:pt x="576224" y="739692"/>
                    <a:pt x="576541" y="740064"/>
                  </a:cubicBezTo>
                  <a:cubicBezTo>
                    <a:pt x="576884" y="740456"/>
                    <a:pt x="577214" y="740849"/>
                    <a:pt x="577557" y="741230"/>
                  </a:cubicBezTo>
                  <a:cubicBezTo>
                    <a:pt x="577925" y="741637"/>
                    <a:pt x="578294" y="742044"/>
                    <a:pt x="578662" y="742450"/>
                  </a:cubicBezTo>
                  <a:cubicBezTo>
                    <a:pt x="579056" y="742867"/>
                    <a:pt x="579449" y="743288"/>
                    <a:pt x="579856" y="743706"/>
                  </a:cubicBezTo>
                  <a:cubicBezTo>
                    <a:pt x="580288" y="744152"/>
                    <a:pt x="580719" y="744584"/>
                    <a:pt x="581151" y="745015"/>
                  </a:cubicBezTo>
                  <a:cubicBezTo>
                    <a:pt x="581621" y="745471"/>
                    <a:pt x="582078" y="745918"/>
                    <a:pt x="582561" y="746359"/>
                  </a:cubicBezTo>
                  <a:cubicBezTo>
                    <a:pt x="583056" y="746832"/>
                    <a:pt x="583577" y="747303"/>
                    <a:pt x="584085" y="747743"/>
                  </a:cubicBezTo>
                  <a:cubicBezTo>
                    <a:pt x="584644" y="748240"/>
                    <a:pt x="585202" y="748711"/>
                    <a:pt x="585774" y="749167"/>
                  </a:cubicBezTo>
                  <a:cubicBezTo>
                    <a:pt x="586384" y="749679"/>
                    <a:pt x="587006" y="750160"/>
                    <a:pt x="587641" y="750631"/>
                  </a:cubicBezTo>
                  <a:cubicBezTo>
                    <a:pt x="588314" y="751137"/>
                    <a:pt x="589013" y="751633"/>
                    <a:pt x="589711" y="752115"/>
                  </a:cubicBezTo>
                  <a:cubicBezTo>
                    <a:pt x="590486" y="752635"/>
                    <a:pt x="591260" y="753131"/>
                    <a:pt x="592048" y="753612"/>
                  </a:cubicBezTo>
                  <a:cubicBezTo>
                    <a:pt x="592937" y="754148"/>
                    <a:pt x="593839" y="754645"/>
                    <a:pt x="594740" y="755111"/>
                  </a:cubicBezTo>
                  <a:cubicBezTo>
                    <a:pt x="595782" y="755647"/>
                    <a:pt x="596836" y="756143"/>
                    <a:pt x="597915" y="756584"/>
                  </a:cubicBezTo>
                  <a:cubicBezTo>
                    <a:pt x="599198" y="757130"/>
                    <a:pt x="600506" y="757601"/>
                    <a:pt x="601827" y="757994"/>
                  </a:cubicBezTo>
                  <a:cubicBezTo>
                    <a:pt x="603579" y="758528"/>
                    <a:pt x="605370" y="758936"/>
                    <a:pt x="607199" y="759214"/>
                  </a:cubicBezTo>
                  <a:cubicBezTo>
                    <a:pt x="609040" y="759491"/>
                    <a:pt x="610933" y="759636"/>
                    <a:pt x="612863" y="759636"/>
                  </a:cubicBezTo>
                  <a:cubicBezTo>
                    <a:pt x="615454" y="759636"/>
                    <a:pt x="618007" y="759368"/>
                    <a:pt x="620521" y="758856"/>
                  </a:cubicBezTo>
                  <a:cubicBezTo>
                    <a:pt x="620839" y="758806"/>
                    <a:pt x="621143" y="758733"/>
                    <a:pt x="621448" y="758668"/>
                  </a:cubicBezTo>
                  <a:cubicBezTo>
                    <a:pt x="626312" y="757576"/>
                    <a:pt x="631037" y="755582"/>
                    <a:pt x="635583" y="752864"/>
                  </a:cubicBezTo>
                  <a:cubicBezTo>
                    <a:pt x="637691" y="751618"/>
                    <a:pt x="639749" y="750224"/>
                    <a:pt x="641781" y="748672"/>
                  </a:cubicBezTo>
                  <a:cubicBezTo>
                    <a:pt x="643394" y="747456"/>
                    <a:pt x="644981" y="746132"/>
                    <a:pt x="646543" y="744748"/>
                  </a:cubicBezTo>
                  <a:cubicBezTo>
                    <a:pt x="647902" y="743542"/>
                    <a:pt x="649248" y="742272"/>
                    <a:pt x="650569" y="740953"/>
                  </a:cubicBezTo>
                  <a:cubicBezTo>
                    <a:pt x="651192" y="740327"/>
                    <a:pt x="651814" y="739692"/>
                    <a:pt x="652436" y="739033"/>
                  </a:cubicBezTo>
                  <a:cubicBezTo>
                    <a:pt x="671626" y="718817"/>
                    <a:pt x="686294" y="687613"/>
                    <a:pt x="693444" y="663661"/>
                  </a:cubicBezTo>
                  <a:lnTo>
                    <a:pt x="693711" y="661846"/>
                  </a:lnTo>
                  <a:lnTo>
                    <a:pt x="693711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C16D20F-F681-16DB-8857-A6AC89860DF8}"/>
                </a:ext>
              </a:extLst>
            </p:cNvPr>
            <p:cNvSpPr/>
            <p:nvPr/>
          </p:nvSpPr>
          <p:spPr>
            <a:xfrm rot="5400000" flipV="1">
              <a:off x="1022845" y="6497857"/>
              <a:ext cx="248995" cy="248995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D2C5BFC-4264-2A08-4447-65894B6D5C9D}"/>
                </a:ext>
              </a:extLst>
            </p:cNvPr>
            <p:cNvSpPr/>
            <p:nvPr/>
          </p:nvSpPr>
          <p:spPr>
            <a:xfrm rot="5400000" flipV="1">
              <a:off x="441866" y="6192717"/>
              <a:ext cx="378987" cy="378986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24" name="Slide Number Placeholder 4">
              <a:extLst>
                <a:ext uri="{FF2B5EF4-FFF2-40B4-BE49-F238E27FC236}">
                  <a16:creationId xmlns:a16="http://schemas.microsoft.com/office/drawing/2014/main" id="{27BBCCCF-DEB8-EB3F-55FB-5BB31B1FD242}"/>
                </a:ext>
              </a:extLst>
            </p:cNvPr>
            <p:cNvSpPr txBox="1">
              <a:spLocks/>
            </p:cNvSpPr>
            <p:nvPr/>
          </p:nvSpPr>
          <p:spPr>
            <a:xfrm>
              <a:off x="606420" y="6324442"/>
              <a:ext cx="64120" cy="12311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3AA4AE14-256E-4160-8E2D-F13F9E1D91E6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3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sp>
        <p:nvSpPr>
          <p:cNvPr id="27" name="Graphic 25">
            <a:extLst>
              <a:ext uri="{FF2B5EF4-FFF2-40B4-BE49-F238E27FC236}">
                <a16:creationId xmlns:a16="http://schemas.microsoft.com/office/drawing/2014/main" id="{D6A5F6F3-2C0F-1555-B8ED-C63C84346A0C}"/>
              </a:ext>
            </a:extLst>
          </p:cNvPr>
          <p:cNvSpPr/>
          <p:nvPr/>
        </p:nvSpPr>
        <p:spPr>
          <a:xfrm>
            <a:off x="1059092" y="1629778"/>
            <a:ext cx="1310814" cy="1207774"/>
          </a:xfrm>
          <a:custGeom>
            <a:avLst/>
            <a:gdLst>
              <a:gd name="connsiteX0" fmla="*/ 4609943 w 4876822"/>
              <a:gd name="connsiteY0" fmla="*/ 2822093 h 4493463"/>
              <a:gd name="connsiteX1" fmla="*/ 3851867 w 4876822"/>
              <a:gd name="connsiteY1" fmla="*/ 3992791 h 4493463"/>
              <a:gd name="connsiteX2" fmla="*/ 2442653 w 4876822"/>
              <a:gd name="connsiteY2" fmla="*/ 4493464 h 4493463"/>
              <a:gd name="connsiteX3" fmla="*/ 2203223 w 4876822"/>
              <a:gd name="connsiteY3" fmla="*/ 4480852 h 4493463"/>
              <a:gd name="connsiteX4" fmla="*/ 692348 w 4876822"/>
              <a:gd name="connsiteY4" fmla="*/ 3660197 h 4493463"/>
              <a:gd name="connsiteX5" fmla="*/ 219994 w 4876822"/>
              <a:gd name="connsiteY5" fmla="*/ 2601770 h 4493463"/>
              <a:gd name="connsiteX6" fmla="*/ 142813 w 4876822"/>
              <a:gd name="connsiteY6" fmla="*/ 2740577 h 4493463"/>
              <a:gd name="connsiteX7" fmla="*/ 76148 w 4876822"/>
              <a:gd name="connsiteY7" fmla="*/ 2779763 h 4493463"/>
              <a:gd name="connsiteX8" fmla="*/ 39181 w 4876822"/>
              <a:gd name="connsiteY8" fmla="*/ 2770143 h 4493463"/>
              <a:gd name="connsiteX9" fmla="*/ 9615 w 4876822"/>
              <a:gd name="connsiteY9" fmla="*/ 2666521 h 4493463"/>
              <a:gd name="connsiteX10" fmla="*/ 204192 w 4876822"/>
              <a:gd name="connsiteY10" fmla="*/ 2316591 h 4493463"/>
              <a:gd name="connsiteX11" fmla="*/ 258885 w 4876822"/>
              <a:gd name="connsiteY11" fmla="*/ 2278358 h 4493463"/>
              <a:gd name="connsiteX12" fmla="*/ 322702 w 4876822"/>
              <a:gd name="connsiteY12" fmla="*/ 2297836 h 4493463"/>
              <a:gd name="connsiteX13" fmla="*/ 615796 w 4876822"/>
              <a:gd name="connsiteY13" fmla="*/ 2570604 h 4493463"/>
              <a:gd name="connsiteX14" fmla="*/ 619663 w 4876822"/>
              <a:gd name="connsiteY14" fmla="*/ 2678303 h 4493463"/>
              <a:gd name="connsiteX15" fmla="*/ 511964 w 4876822"/>
              <a:gd name="connsiteY15" fmla="*/ 2682170 h 4493463"/>
              <a:gd name="connsiteX16" fmla="*/ 365650 w 4876822"/>
              <a:gd name="connsiteY16" fmla="*/ 2546011 h 4493463"/>
              <a:gd name="connsiteX17" fmla="*/ 810801 w 4876822"/>
              <a:gd name="connsiteY17" fmla="*/ 3564309 h 4493463"/>
              <a:gd name="connsiteX18" fmla="*/ 3755989 w 4876822"/>
              <a:gd name="connsiteY18" fmla="*/ 3874338 h 4493463"/>
              <a:gd name="connsiteX19" fmla="*/ 4462591 w 4876822"/>
              <a:gd name="connsiteY19" fmla="*/ 2783183 h 4493463"/>
              <a:gd name="connsiteX20" fmla="*/ 4555717 w 4876822"/>
              <a:gd name="connsiteY20" fmla="*/ 2728957 h 4493463"/>
              <a:gd name="connsiteX21" fmla="*/ 4609943 w 4876822"/>
              <a:gd name="connsiteY21" fmla="*/ 2822093 h 4493463"/>
              <a:gd name="connsiteX22" fmla="*/ 4837648 w 4876822"/>
              <a:gd name="connsiteY22" fmla="*/ 1723307 h 4493463"/>
              <a:gd name="connsiteX23" fmla="*/ 4734016 w 4876822"/>
              <a:gd name="connsiteY23" fmla="*/ 1752873 h 4493463"/>
              <a:gd name="connsiteX24" fmla="*/ 4656863 w 4876822"/>
              <a:gd name="connsiteY24" fmla="*/ 1891624 h 4493463"/>
              <a:gd name="connsiteX25" fmla="*/ 4184461 w 4876822"/>
              <a:gd name="connsiteY25" fmla="*/ 833263 h 4493463"/>
              <a:gd name="connsiteX26" fmla="*/ 2673587 w 4876822"/>
              <a:gd name="connsiteY26" fmla="*/ 12617 h 4493463"/>
              <a:gd name="connsiteX27" fmla="*/ 1024942 w 4876822"/>
              <a:gd name="connsiteY27" fmla="*/ 500678 h 4493463"/>
              <a:gd name="connsiteX28" fmla="*/ 266876 w 4876822"/>
              <a:gd name="connsiteY28" fmla="*/ 1671358 h 4493463"/>
              <a:gd name="connsiteX29" fmla="*/ 321083 w 4876822"/>
              <a:gd name="connsiteY29" fmla="*/ 1764494 h 4493463"/>
              <a:gd name="connsiteX30" fmla="*/ 414209 w 4876822"/>
              <a:gd name="connsiteY30" fmla="*/ 1710277 h 4493463"/>
              <a:gd name="connsiteX31" fmla="*/ 1120821 w 4876822"/>
              <a:gd name="connsiteY31" fmla="*/ 619122 h 4493463"/>
              <a:gd name="connsiteX32" fmla="*/ 4066008 w 4876822"/>
              <a:gd name="connsiteY32" fmla="*/ 929151 h 4493463"/>
              <a:gd name="connsiteX33" fmla="*/ 4511102 w 4876822"/>
              <a:gd name="connsiteY33" fmla="*/ 1947383 h 4493463"/>
              <a:gd name="connsiteX34" fmla="*/ 4364846 w 4876822"/>
              <a:gd name="connsiteY34" fmla="*/ 1811271 h 4493463"/>
              <a:gd name="connsiteX35" fmla="*/ 4257147 w 4876822"/>
              <a:gd name="connsiteY35" fmla="*/ 1815138 h 4493463"/>
              <a:gd name="connsiteX36" fmla="*/ 4261014 w 4876822"/>
              <a:gd name="connsiteY36" fmla="*/ 1922837 h 4493463"/>
              <a:gd name="connsiteX37" fmla="*/ 4554107 w 4876822"/>
              <a:gd name="connsiteY37" fmla="*/ 2195605 h 4493463"/>
              <a:gd name="connsiteX38" fmla="*/ 4606019 w 4876822"/>
              <a:gd name="connsiteY38" fmla="*/ 2216026 h 4493463"/>
              <a:gd name="connsiteX39" fmla="*/ 4617925 w 4876822"/>
              <a:gd name="connsiteY39" fmla="*/ 2215093 h 4493463"/>
              <a:gd name="connsiteX40" fmla="*/ 4672618 w 4876822"/>
              <a:gd name="connsiteY40" fmla="*/ 2176860 h 4493463"/>
              <a:gd name="connsiteX41" fmla="*/ 4867194 w 4876822"/>
              <a:gd name="connsiteY41" fmla="*/ 1826930 h 4493463"/>
              <a:gd name="connsiteX42" fmla="*/ 4837648 w 4876822"/>
              <a:gd name="connsiteY42" fmla="*/ 1723307 h 4493463"/>
              <a:gd name="connsiteX43" fmla="*/ 1563534 w 4876822"/>
              <a:gd name="connsiteY43" fmla="*/ 2246735 h 4493463"/>
              <a:gd name="connsiteX44" fmla="*/ 2438414 w 4876822"/>
              <a:gd name="connsiteY44" fmla="*/ 1371854 h 4493463"/>
              <a:gd name="connsiteX45" fmla="*/ 3313295 w 4876822"/>
              <a:gd name="connsiteY45" fmla="*/ 2246735 h 4493463"/>
              <a:gd name="connsiteX46" fmla="*/ 2438414 w 4876822"/>
              <a:gd name="connsiteY46" fmla="*/ 3121606 h 4493463"/>
              <a:gd name="connsiteX47" fmla="*/ 1563534 w 4876822"/>
              <a:gd name="connsiteY47" fmla="*/ 2246735 h 4493463"/>
              <a:gd name="connsiteX48" fmla="*/ 1715934 w 4876822"/>
              <a:gd name="connsiteY48" fmla="*/ 2246735 h 4493463"/>
              <a:gd name="connsiteX49" fmla="*/ 2438414 w 4876822"/>
              <a:gd name="connsiteY49" fmla="*/ 2969206 h 4493463"/>
              <a:gd name="connsiteX50" fmla="*/ 3160895 w 4876822"/>
              <a:gd name="connsiteY50" fmla="*/ 2246735 h 4493463"/>
              <a:gd name="connsiteX51" fmla="*/ 2438414 w 4876822"/>
              <a:gd name="connsiteY51" fmla="*/ 1524254 h 4493463"/>
              <a:gd name="connsiteX52" fmla="*/ 1715934 w 4876822"/>
              <a:gd name="connsiteY52" fmla="*/ 2246735 h 4493463"/>
              <a:gd name="connsiteX53" fmla="*/ 1083940 w 4876822"/>
              <a:gd name="connsiteY53" fmla="*/ 1935982 h 4493463"/>
              <a:gd name="connsiteX54" fmla="*/ 1261000 w 4876822"/>
              <a:gd name="connsiteY54" fmla="*/ 1508881 h 4493463"/>
              <a:gd name="connsiteX55" fmla="*/ 1164931 w 4876822"/>
              <a:gd name="connsiteY55" fmla="*/ 1292568 h 4493463"/>
              <a:gd name="connsiteX56" fmla="*/ 1180686 w 4876822"/>
              <a:gd name="connsiteY56" fmla="*/ 1207757 h 4493463"/>
              <a:gd name="connsiteX57" fmla="*/ 1399437 w 4876822"/>
              <a:gd name="connsiteY57" fmla="*/ 989016 h 4493463"/>
              <a:gd name="connsiteX58" fmla="*/ 1484247 w 4876822"/>
              <a:gd name="connsiteY58" fmla="*/ 973252 h 4493463"/>
              <a:gd name="connsiteX59" fmla="*/ 1700570 w 4876822"/>
              <a:gd name="connsiteY59" fmla="*/ 1069331 h 4493463"/>
              <a:gd name="connsiteX60" fmla="*/ 2127661 w 4876822"/>
              <a:gd name="connsiteY60" fmla="*/ 892280 h 4493463"/>
              <a:gd name="connsiteX61" fmla="*/ 2212624 w 4876822"/>
              <a:gd name="connsiteY61" fmla="*/ 671557 h 4493463"/>
              <a:gd name="connsiteX62" fmla="*/ 2283738 w 4876822"/>
              <a:gd name="connsiteY62" fmla="*/ 622732 h 4493463"/>
              <a:gd name="connsiteX63" fmla="*/ 2593100 w 4876822"/>
              <a:gd name="connsiteY63" fmla="*/ 622732 h 4493463"/>
              <a:gd name="connsiteX64" fmla="*/ 2664214 w 4876822"/>
              <a:gd name="connsiteY64" fmla="*/ 671557 h 4493463"/>
              <a:gd name="connsiteX65" fmla="*/ 2749177 w 4876822"/>
              <a:gd name="connsiteY65" fmla="*/ 892280 h 4493463"/>
              <a:gd name="connsiteX66" fmla="*/ 3176250 w 4876822"/>
              <a:gd name="connsiteY66" fmla="*/ 1069331 h 4493463"/>
              <a:gd name="connsiteX67" fmla="*/ 3392591 w 4876822"/>
              <a:gd name="connsiteY67" fmla="*/ 973252 h 4493463"/>
              <a:gd name="connsiteX68" fmla="*/ 3477392 w 4876822"/>
              <a:gd name="connsiteY68" fmla="*/ 989016 h 4493463"/>
              <a:gd name="connsiteX69" fmla="*/ 3696143 w 4876822"/>
              <a:gd name="connsiteY69" fmla="*/ 1207757 h 4493463"/>
              <a:gd name="connsiteX70" fmla="*/ 3711907 w 4876822"/>
              <a:gd name="connsiteY70" fmla="*/ 1292568 h 4493463"/>
              <a:gd name="connsiteX71" fmla="*/ 3615866 w 4876822"/>
              <a:gd name="connsiteY71" fmla="*/ 1508824 h 4493463"/>
              <a:gd name="connsiteX72" fmla="*/ 3792946 w 4876822"/>
              <a:gd name="connsiteY72" fmla="*/ 1936010 h 4493463"/>
              <a:gd name="connsiteX73" fmla="*/ 4013611 w 4876822"/>
              <a:gd name="connsiteY73" fmla="*/ 2020945 h 4493463"/>
              <a:gd name="connsiteX74" fmla="*/ 4062436 w 4876822"/>
              <a:gd name="connsiteY74" fmla="*/ 2092058 h 4493463"/>
              <a:gd name="connsiteX75" fmla="*/ 4062436 w 4876822"/>
              <a:gd name="connsiteY75" fmla="*/ 2401421 h 4493463"/>
              <a:gd name="connsiteX76" fmla="*/ 4013611 w 4876822"/>
              <a:gd name="connsiteY76" fmla="*/ 2472534 h 4493463"/>
              <a:gd name="connsiteX77" fmla="*/ 3792879 w 4876822"/>
              <a:gd name="connsiteY77" fmla="*/ 2557498 h 4493463"/>
              <a:gd name="connsiteX78" fmla="*/ 3615819 w 4876822"/>
              <a:gd name="connsiteY78" fmla="*/ 2984570 h 4493463"/>
              <a:gd name="connsiteX79" fmla="*/ 3711907 w 4876822"/>
              <a:gd name="connsiteY79" fmla="*/ 3200911 h 4493463"/>
              <a:gd name="connsiteX80" fmla="*/ 3696152 w 4876822"/>
              <a:gd name="connsiteY80" fmla="*/ 3285722 h 4493463"/>
              <a:gd name="connsiteX81" fmla="*/ 3477401 w 4876822"/>
              <a:gd name="connsiteY81" fmla="*/ 3504473 h 4493463"/>
              <a:gd name="connsiteX82" fmla="*/ 3392591 w 4876822"/>
              <a:gd name="connsiteY82" fmla="*/ 3520228 h 4493463"/>
              <a:gd name="connsiteX83" fmla="*/ 3176345 w 4876822"/>
              <a:gd name="connsiteY83" fmla="*/ 3424187 h 4493463"/>
              <a:gd name="connsiteX84" fmla="*/ 2749158 w 4876822"/>
              <a:gd name="connsiteY84" fmla="*/ 3601266 h 4493463"/>
              <a:gd name="connsiteX85" fmla="*/ 2664224 w 4876822"/>
              <a:gd name="connsiteY85" fmla="*/ 3821932 h 4493463"/>
              <a:gd name="connsiteX86" fmla="*/ 2593110 w 4876822"/>
              <a:gd name="connsiteY86" fmla="*/ 3870757 h 4493463"/>
              <a:gd name="connsiteX87" fmla="*/ 2283747 w 4876822"/>
              <a:gd name="connsiteY87" fmla="*/ 3870757 h 4493463"/>
              <a:gd name="connsiteX88" fmla="*/ 2212634 w 4876822"/>
              <a:gd name="connsiteY88" fmla="*/ 3821932 h 4493463"/>
              <a:gd name="connsiteX89" fmla="*/ 2127671 w 4876822"/>
              <a:gd name="connsiteY89" fmla="*/ 3601209 h 4493463"/>
              <a:gd name="connsiteX90" fmla="*/ 1700598 w 4876822"/>
              <a:gd name="connsiteY90" fmla="*/ 3424158 h 4493463"/>
              <a:gd name="connsiteX91" fmla="*/ 1484257 w 4876822"/>
              <a:gd name="connsiteY91" fmla="*/ 3520237 h 4493463"/>
              <a:gd name="connsiteX92" fmla="*/ 1399446 w 4876822"/>
              <a:gd name="connsiteY92" fmla="*/ 3504473 h 4493463"/>
              <a:gd name="connsiteX93" fmla="*/ 1180695 w 4876822"/>
              <a:gd name="connsiteY93" fmla="*/ 3285731 h 4493463"/>
              <a:gd name="connsiteX94" fmla="*/ 1164941 w 4876822"/>
              <a:gd name="connsiteY94" fmla="*/ 3200921 h 4493463"/>
              <a:gd name="connsiteX95" fmla="*/ 1260991 w 4876822"/>
              <a:gd name="connsiteY95" fmla="*/ 2984665 h 4493463"/>
              <a:gd name="connsiteX96" fmla="*/ 1083902 w 4876822"/>
              <a:gd name="connsiteY96" fmla="*/ 2557478 h 4493463"/>
              <a:gd name="connsiteX97" fmla="*/ 863236 w 4876822"/>
              <a:gd name="connsiteY97" fmla="*/ 2472544 h 4493463"/>
              <a:gd name="connsiteX98" fmla="*/ 814411 w 4876822"/>
              <a:gd name="connsiteY98" fmla="*/ 2401430 h 4493463"/>
              <a:gd name="connsiteX99" fmla="*/ 814411 w 4876822"/>
              <a:gd name="connsiteY99" fmla="*/ 2092068 h 4493463"/>
              <a:gd name="connsiteX100" fmla="*/ 863236 w 4876822"/>
              <a:gd name="connsiteY100" fmla="*/ 2020954 h 4493463"/>
              <a:gd name="connsiteX101" fmla="*/ 1177266 w 4876822"/>
              <a:gd name="connsiteY101" fmla="*/ 2063369 h 4493463"/>
              <a:gd name="connsiteX102" fmla="*/ 966802 w 4876822"/>
              <a:gd name="connsiteY102" fmla="*/ 2144379 h 4493463"/>
              <a:gd name="connsiteX103" fmla="*/ 966802 w 4876822"/>
              <a:gd name="connsiteY103" fmla="*/ 2349100 h 4493463"/>
              <a:gd name="connsiteX104" fmla="*/ 1177219 w 4876822"/>
              <a:gd name="connsiteY104" fmla="*/ 2430091 h 4493463"/>
              <a:gd name="connsiteX105" fmla="*/ 1224615 w 4876822"/>
              <a:gd name="connsiteY105" fmla="*/ 2486508 h 4493463"/>
              <a:gd name="connsiteX106" fmla="*/ 1410657 w 4876822"/>
              <a:gd name="connsiteY106" fmla="*/ 2935326 h 4493463"/>
              <a:gd name="connsiteX107" fmla="*/ 1417039 w 4876822"/>
              <a:gd name="connsiteY107" fmla="*/ 3008735 h 4493463"/>
              <a:gd name="connsiteX108" fmla="*/ 1325456 w 4876822"/>
              <a:gd name="connsiteY108" fmla="*/ 3214951 h 4493463"/>
              <a:gd name="connsiteX109" fmla="*/ 1470208 w 4876822"/>
              <a:gd name="connsiteY109" fmla="*/ 3359712 h 4493463"/>
              <a:gd name="connsiteX110" fmla="*/ 1676510 w 4876822"/>
              <a:gd name="connsiteY110" fmla="*/ 3268091 h 4493463"/>
              <a:gd name="connsiteX111" fmla="*/ 1749909 w 4876822"/>
              <a:gd name="connsiteY111" fmla="*/ 3274463 h 4493463"/>
              <a:gd name="connsiteX112" fmla="*/ 2198613 w 4876822"/>
              <a:gd name="connsiteY112" fmla="*/ 3460477 h 4493463"/>
              <a:gd name="connsiteX113" fmla="*/ 2255039 w 4876822"/>
              <a:gd name="connsiteY113" fmla="*/ 3507883 h 4493463"/>
              <a:gd name="connsiteX114" fmla="*/ 2336059 w 4876822"/>
              <a:gd name="connsiteY114" fmla="*/ 3718357 h 4493463"/>
              <a:gd name="connsiteX115" fmla="*/ 2540780 w 4876822"/>
              <a:gd name="connsiteY115" fmla="*/ 3718357 h 4493463"/>
              <a:gd name="connsiteX116" fmla="*/ 2621771 w 4876822"/>
              <a:gd name="connsiteY116" fmla="*/ 3507940 h 4493463"/>
              <a:gd name="connsiteX117" fmla="*/ 2678197 w 4876822"/>
              <a:gd name="connsiteY117" fmla="*/ 3460534 h 4493463"/>
              <a:gd name="connsiteX118" fmla="*/ 3127005 w 4876822"/>
              <a:gd name="connsiteY118" fmla="*/ 3274502 h 4493463"/>
              <a:gd name="connsiteX119" fmla="*/ 3200414 w 4876822"/>
              <a:gd name="connsiteY119" fmla="*/ 3268120 h 4493463"/>
              <a:gd name="connsiteX120" fmla="*/ 3406621 w 4876822"/>
              <a:gd name="connsiteY120" fmla="*/ 3359702 h 4493463"/>
              <a:gd name="connsiteX121" fmla="*/ 3551373 w 4876822"/>
              <a:gd name="connsiteY121" fmla="*/ 3214941 h 4493463"/>
              <a:gd name="connsiteX122" fmla="*/ 3459751 w 4876822"/>
              <a:gd name="connsiteY122" fmla="*/ 3008649 h 4493463"/>
              <a:gd name="connsiteX123" fmla="*/ 3466133 w 4876822"/>
              <a:gd name="connsiteY123" fmla="*/ 2935250 h 4493463"/>
              <a:gd name="connsiteX124" fmla="*/ 3652147 w 4876822"/>
              <a:gd name="connsiteY124" fmla="*/ 2486546 h 4493463"/>
              <a:gd name="connsiteX125" fmla="*/ 3699544 w 4876822"/>
              <a:gd name="connsiteY125" fmla="*/ 2430120 h 4493463"/>
              <a:gd name="connsiteX126" fmla="*/ 3910027 w 4876822"/>
              <a:gd name="connsiteY126" fmla="*/ 2349100 h 4493463"/>
              <a:gd name="connsiteX127" fmla="*/ 3910027 w 4876822"/>
              <a:gd name="connsiteY127" fmla="*/ 2144379 h 4493463"/>
              <a:gd name="connsiteX128" fmla="*/ 3699610 w 4876822"/>
              <a:gd name="connsiteY128" fmla="*/ 2063388 h 4493463"/>
              <a:gd name="connsiteX129" fmla="*/ 3652214 w 4876822"/>
              <a:gd name="connsiteY129" fmla="*/ 2006962 h 4493463"/>
              <a:gd name="connsiteX130" fmla="*/ 3466171 w 4876822"/>
              <a:gd name="connsiteY130" fmla="*/ 1558153 h 4493463"/>
              <a:gd name="connsiteX131" fmla="*/ 3459790 w 4876822"/>
              <a:gd name="connsiteY131" fmla="*/ 1484744 h 4493463"/>
              <a:gd name="connsiteX132" fmla="*/ 3551373 w 4876822"/>
              <a:gd name="connsiteY132" fmla="*/ 1278528 h 4493463"/>
              <a:gd name="connsiteX133" fmla="*/ 3406621 w 4876822"/>
              <a:gd name="connsiteY133" fmla="*/ 1133777 h 4493463"/>
              <a:gd name="connsiteX134" fmla="*/ 3200319 w 4876822"/>
              <a:gd name="connsiteY134" fmla="*/ 1225398 h 4493463"/>
              <a:gd name="connsiteX135" fmla="*/ 3126919 w 4876822"/>
              <a:gd name="connsiteY135" fmla="*/ 1219025 h 4493463"/>
              <a:gd name="connsiteX136" fmla="*/ 2678216 w 4876822"/>
              <a:gd name="connsiteY136" fmla="*/ 1033012 h 4493463"/>
              <a:gd name="connsiteX137" fmla="*/ 2621790 w 4876822"/>
              <a:gd name="connsiteY137" fmla="*/ 985606 h 4493463"/>
              <a:gd name="connsiteX138" fmla="*/ 2540770 w 4876822"/>
              <a:gd name="connsiteY138" fmla="*/ 775132 h 4493463"/>
              <a:gd name="connsiteX139" fmla="*/ 2336059 w 4876822"/>
              <a:gd name="connsiteY139" fmla="*/ 775132 h 4493463"/>
              <a:gd name="connsiteX140" fmla="*/ 2255039 w 4876822"/>
              <a:gd name="connsiteY140" fmla="*/ 985606 h 4493463"/>
              <a:gd name="connsiteX141" fmla="*/ 2198613 w 4876822"/>
              <a:gd name="connsiteY141" fmla="*/ 1033012 h 4493463"/>
              <a:gd name="connsiteX142" fmla="*/ 1749890 w 4876822"/>
              <a:gd name="connsiteY142" fmla="*/ 1219025 h 4493463"/>
              <a:gd name="connsiteX143" fmla="*/ 1676490 w 4876822"/>
              <a:gd name="connsiteY143" fmla="*/ 1225398 h 4493463"/>
              <a:gd name="connsiteX144" fmla="*/ 1470208 w 4876822"/>
              <a:gd name="connsiteY144" fmla="*/ 1133777 h 4493463"/>
              <a:gd name="connsiteX145" fmla="*/ 1325456 w 4876822"/>
              <a:gd name="connsiteY145" fmla="*/ 1278538 h 4493463"/>
              <a:gd name="connsiteX146" fmla="*/ 1417058 w 4876822"/>
              <a:gd name="connsiteY146" fmla="*/ 1484811 h 4493463"/>
              <a:gd name="connsiteX147" fmla="*/ 1410676 w 4876822"/>
              <a:gd name="connsiteY147" fmla="*/ 1558220 h 4493463"/>
              <a:gd name="connsiteX148" fmla="*/ 1224663 w 4876822"/>
              <a:gd name="connsiteY148" fmla="*/ 2006943 h 4493463"/>
              <a:gd name="connsiteX149" fmla="*/ 1177266 w 4876822"/>
              <a:gd name="connsiteY149" fmla="*/ 2063369 h 449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4876822" h="4493463">
                <a:moveTo>
                  <a:pt x="4609943" y="2822093"/>
                </a:moveTo>
                <a:cubicBezTo>
                  <a:pt x="4487566" y="3285569"/>
                  <a:pt x="4225438" y="3690392"/>
                  <a:pt x="3851867" y="3992791"/>
                </a:cubicBezTo>
                <a:cubicBezTo>
                  <a:pt x="3448102" y="4319642"/>
                  <a:pt x="2954974" y="4493464"/>
                  <a:pt x="2442653" y="4493464"/>
                </a:cubicBezTo>
                <a:cubicBezTo>
                  <a:pt x="2363186" y="4493464"/>
                  <a:pt x="2283357" y="4489291"/>
                  <a:pt x="2203223" y="4480852"/>
                </a:cubicBezTo>
                <a:cubicBezTo>
                  <a:pt x="1606472" y="4418035"/>
                  <a:pt x="1069900" y="4126589"/>
                  <a:pt x="692348" y="3660197"/>
                </a:cubicBezTo>
                <a:cubicBezTo>
                  <a:pt x="443108" y="3352311"/>
                  <a:pt x="281488" y="2989075"/>
                  <a:pt x="219994" y="2601770"/>
                </a:cubicBezTo>
                <a:lnTo>
                  <a:pt x="142813" y="2740577"/>
                </a:lnTo>
                <a:cubicBezTo>
                  <a:pt x="128878" y="2765628"/>
                  <a:pt x="102913" y="2779763"/>
                  <a:pt x="76148" y="2779763"/>
                </a:cubicBezTo>
                <a:cubicBezTo>
                  <a:pt x="63622" y="2779763"/>
                  <a:pt x="50916" y="2776668"/>
                  <a:pt x="39181" y="2770143"/>
                </a:cubicBezTo>
                <a:cubicBezTo>
                  <a:pt x="2405" y="2749693"/>
                  <a:pt x="-10835" y="2703297"/>
                  <a:pt x="9615" y="2666521"/>
                </a:cubicBezTo>
                <a:lnTo>
                  <a:pt x="204192" y="2316591"/>
                </a:lnTo>
                <a:cubicBezTo>
                  <a:pt x="215575" y="2296122"/>
                  <a:pt x="235749" y="2282025"/>
                  <a:pt x="258885" y="2278358"/>
                </a:cubicBezTo>
                <a:cubicBezTo>
                  <a:pt x="282059" y="2274691"/>
                  <a:pt x="305557" y="2281892"/>
                  <a:pt x="322702" y="2297836"/>
                </a:cubicBezTo>
                <a:lnTo>
                  <a:pt x="615796" y="2570604"/>
                </a:lnTo>
                <a:cubicBezTo>
                  <a:pt x="646600" y="2599274"/>
                  <a:pt x="648333" y="2647490"/>
                  <a:pt x="619663" y="2678303"/>
                </a:cubicBezTo>
                <a:cubicBezTo>
                  <a:pt x="590983" y="2709107"/>
                  <a:pt x="542768" y="2710841"/>
                  <a:pt x="511964" y="2682170"/>
                </a:cubicBezTo>
                <a:lnTo>
                  <a:pt x="365650" y="2546011"/>
                </a:lnTo>
                <a:cubicBezTo>
                  <a:pt x="419009" y="2918867"/>
                  <a:pt x="571648" y="3268901"/>
                  <a:pt x="810801" y="3564309"/>
                </a:cubicBezTo>
                <a:cubicBezTo>
                  <a:pt x="1537302" y="4461764"/>
                  <a:pt x="2858505" y="4600848"/>
                  <a:pt x="3755989" y="3874338"/>
                </a:cubicBezTo>
                <a:cubicBezTo>
                  <a:pt x="4104213" y="3592446"/>
                  <a:pt x="4348549" y="3215132"/>
                  <a:pt x="4462591" y="2783183"/>
                </a:cubicBezTo>
                <a:cubicBezTo>
                  <a:pt x="4473336" y="2742492"/>
                  <a:pt x="4514998" y="2718213"/>
                  <a:pt x="4555717" y="2728957"/>
                </a:cubicBezTo>
                <a:cubicBezTo>
                  <a:pt x="4596418" y="2739711"/>
                  <a:pt x="4620678" y="2781402"/>
                  <a:pt x="4609943" y="2822093"/>
                </a:cubicBezTo>
                <a:close/>
                <a:moveTo>
                  <a:pt x="4837648" y="1723307"/>
                </a:moveTo>
                <a:cubicBezTo>
                  <a:pt x="4800881" y="1702867"/>
                  <a:pt x="4754485" y="1716097"/>
                  <a:pt x="4734016" y="1752873"/>
                </a:cubicBezTo>
                <a:lnTo>
                  <a:pt x="4656863" y="1891624"/>
                </a:lnTo>
                <a:cubicBezTo>
                  <a:pt x="4595370" y="1504290"/>
                  <a:pt x="4433826" y="1141301"/>
                  <a:pt x="4184461" y="833263"/>
                </a:cubicBezTo>
                <a:cubicBezTo>
                  <a:pt x="3806919" y="366881"/>
                  <a:pt x="3270347" y="75435"/>
                  <a:pt x="2673587" y="12617"/>
                </a:cubicBezTo>
                <a:cubicBezTo>
                  <a:pt x="2076826" y="-50229"/>
                  <a:pt x="1491324" y="123126"/>
                  <a:pt x="1024942" y="500678"/>
                </a:cubicBezTo>
                <a:cubicBezTo>
                  <a:pt x="651420" y="803059"/>
                  <a:pt x="389292" y="1207872"/>
                  <a:pt x="266876" y="1671358"/>
                </a:cubicBezTo>
                <a:cubicBezTo>
                  <a:pt x="256122" y="1712049"/>
                  <a:pt x="280402" y="1753740"/>
                  <a:pt x="321083" y="1764494"/>
                </a:cubicBezTo>
                <a:cubicBezTo>
                  <a:pt x="361783" y="1775228"/>
                  <a:pt x="403465" y="1750959"/>
                  <a:pt x="414209" y="1710277"/>
                </a:cubicBezTo>
                <a:cubicBezTo>
                  <a:pt x="528309" y="1278299"/>
                  <a:pt x="772644" y="900995"/>
                  <a:pt x="1120821" y="619122"/>
                </a:cubicBezTo>
                <a:cubicBezTo>
                  <a:pt x="2018286" y="-107388"/>
                  <a:pt x="3339489" y="31686"/>
                  <a:pt x="4066008" y="929151"/>
                </a:cubicBezTo>
                <a:cubicBezTo>
                  <a:pt x="4305257" y="1224702"/>
                  <a:pt x="4457734" y="1574479"/>
                  <a:pt x="4511102" y="1947383"/>
                </a:cubicBezTo>
                <a:lnTo>
                  <a:pt x="4364846" y="1811271"/>
                </a:lnTo>
                <a:cubicBezTo>
                  <a:pt x="4334042" y="1782601"/>
                  <a:pt x="4285836" y="1784334"/>
                  <a:pt x="4257147" y="1815138"/>
                </a:cubicBezTo>
                <a:cubicBezTo>
                  <a:pt x="4228476" y="1845942"/>
                  <a:pt x="4230210" y="1894157"/>
                  <a:pt x="4261014" y="1922837"/>
                </a:cubicBezTo>
                <a:lnTo>
                  <a:pt x="4554107" y="2195605"/>
                </a:lnTo>
                <a:cubicBezTo>
                  <a:pt x="4568309" y="2208825"/>
                  <a:pt x="4586902" y="2216026"/>
                  <a:pt x="4606019" y="2216026"/>
                </a:cubicBezTo>
                <a:cubicBezTo>
                  <a:pt x="4609971" y="2216026"/>
                  <a:pt x="4613953" y="2215722"/>
                  <a:pt x="4617925" y="2215093"/>
                </a:cubicBezTo>
                <a:cubicBezTo>
                  <a:pt x="4641071" y="2211426"/>
                  <a:pt x="4661235" y="2197329"/>
                  <a:pt x="4672618" y="2176860"/>
                </a:cubicBezTo>
                <a:lnTo>
                  <a:pt x="4867194" y="1826930"/>
                </a:lnTo>
                <a:cubicBezTo>
                  <a:pt x="4887663" y="1790154"/>
                  <a:pt x="4874424" y="1743758"/>
                  <a:pt x="4837648" y="1723307"/>
                </a:cubicBezTo>
                <a:close/>
                <a:moveTo>
                  <a:pt x="1563534" y="2246735"/>
                </a:moveTo>
                <a:cubicBezTo>
                  <a:pt x="1563534" y="1764322"/>
                  <a:pt x="1956002" y="1371854"/>
                  <a:pt x="2438414" y="1371854"/>
                </a:cubicBezTo>
                <a:cubicBezTo>
                  <a:pt x="2920827" y="1371854"/>
                  <a:pt x="3313295" y="1764322"/>
                  <a:pt x="3313295" y="2246735"/>
                </a:cubicBezTo>
                <a:cubicBezTo>
                  <a:pt x="3313295" y="2729138"/>
                  <a:pt x="2920827" y="3121606"/>
                  <a:pt x="2438414" y="3121606"/>
                </a:cubicBezTo>
                <a:cubicBezTo>
                  <a:pt x="1956002" y="3121606"/>
                  <a:pt x="1563534" y="2729148"/>
                  <a:pt x="1563534" y="2246735"/>
                </a:cubicBezTo>
                <a:close/>
                <a:moveTo>
                  <a:pt x="1715934" y="2246735"/>
                </a:moveTo>
                <a:cubicBezTo>
                  <a:pt x="1715934" y="2645109"/>
                  <a:pt x="2040031" y="2969206"/>
                  <a:pt x="2438414" y="2969206"/>
                </a:cubicBezTo>
                <a:cubicBezTo>
                  <a:pt x="2836798" y="2969206"/>
                  <a:pt x="3160895" y="2645109"/>
                  <a:pt x="3160895" y="2246735"/>
                </a:cubicBezTo>
                <a:cubicBezTo>
                  <a:pt x="3160895" y="1848361"/>
                  <a:pt x="2836798" y="1524254"/>
                  <a:pt x="2438414" y="1524254"/>
                </a:cubicBezTo>
                <a:cubicBezTo>
                  <a:pt x="2040031" y="1524254"/>
                  <a:pt x="1715934" y="1848361"/>
                  <a:pt x="1715934" y="2246735"/>
                </a:cubicBezTo>
                <a:close/>
                <a:moveTo>
                  <a:pt x="1083940" y="1935982"/>
                </a:moveTo>
                <a:cubicBezTo>
                  <a:pt x="1118535" y="1784306"/>
                  <a:pt x="1177943" y="1640992"/>
                  <a:pt x="1261000" y="1508881"/>
                </a:cubicBezTo>
                <a:lnTo>
                  <a:pt x="1164931" y="1292568"/>
                </a:lnTo>
                <a:cubicBezTo>
                  <a:pt x="1152139" y="1263764"/>
                  <a:pt x="1158397" y="1230046"/>
                  <a:pt x="1180686" y="1207757"/>
                </a:cubicBezTo>
                <a:lnTo>
                  <a:pt x="1399437" y="989016"/>
                </a:lnTo>
                <a:cubicBezTo>
                  <a:pt x="1421735" y="966727"/>
                  <a:pt x="1455434" y="960450"/>
                  <a:pt x="1484247" y="973252"/>
                </a:cubicBezTo>
                <a:lnTo>
                  <a:pt x="1700570" y="1069331"/>
                </a:lnTo>
                <a:cubicBezTo>
                  <a:pt x="1832691" y="986292"/>
                  <a:pt x="1976004" y="926875"/>
                  <a:pt x="2127661" y="892280"/>
                </a:cubicBezTo>
                <a:lnTo>
                  <a:pt x="2212624" y="671557"/>
                </a:lnTo>
                <a:cubicBezTo>
                  <a:pt x="2223940" y="642134"/>
                  <a:pt x="2252210" y="622732"/>
                  <a:pt x="2283738" y="622732"/>
                </a:cubicBezTo>
                <a:lnTo>
                  <a:pt x="2593100" y="622732"/>
                </a:lnTo>
                <a:cubicBezTo>
                  <a:pt x="2624628" y="622732"/>
                  <a:pt x="2652889" y="642144"/>
                  <a:pt x="2664214" y="671557"/>
                </a:cubicBezTo>
                <a:lnTo>
                  <a:pt x="2749177" y="892280"/>
                </a:lnTo>
                <a:cubicBezTo>
                  <a:pt x="2900834" y="926884"/>
                  <a:pt x="3044138" y="986292"/>
                  <a:pt x="3176250" y="1069331"/>
                </a:cubicBezTo>
                <a:lnTo>
                  <a:pt x="3392591" y="973252"/>
                </a:lnTo>
                <a:cubicBezTo>
                  <a:pt x="3421404" y="960460"/>
                  <a:pt x="3455113" y="966727"/>
                  <a:pt x="3477392" y="989016"/>
                </a:cubicBezTo>
                <a:lnTo>
                  <a:pt x="3696143" y="1207757"/>
                </a:lnTo>
                <a:cubicBezTo>
                  <a:pt x="3718441" y="1230046"/>
                  <a:pt x="3724699" y="1263755"/>
                  <a:pt x="3711907" y="1292568"/>
                </a:cubicBezTo>
                <a:lnTo>
                  <a:pt x="3615866" y="1508824"/>
                </a:lnTo>
                <a:cubicBezTo>
                  <a:pt x="3698896" y="1640897"/>
                  <a:pt x="3758322" y="1784239"/>
                  <a:pt x="3792946" y="1936010"/>
                </a:cubicBezTo>
                <a:lnTo>
                  <a:pt x="4013611" y="2020945"/>
                </a:lnTo>
                <a:cubicBezTo>
                  <a:pt x="4043025" y="2032260"/>
                  <a:pt x="4062436" y="2060531"/>
                  <a:pt x="4062436" y="2092058"/>
                </a:cubicBezTo>
                <a:lnTo>
                  <a:pt x="4062436" y="2401421"/>
                </a:lnTo>
                <a:cubicBezTo>
                  <a:pt x="4062436" y="2432949"/>
                  <a:pt x="4043025" y="2461209"/>
                  <a:pt x="4013611" y="2472534"/>
                </a:cubicBezTo>
                <a:lnTo>
                  <a:pt x="3792879" y="2557498"/>
                </a:lnTo>
                <a:cubicBezTo>
                  <a:pt x="3758275" y="2709155"/>
                  <a:pt x="3698867" y="2852458"/>
                  <a:pt x="3615819" y="2984570"/>
                </a:cubicBezTo>
                <a:lnTo>
                  <a:pt x="3711907" y="3200911"/>
                </a:lnTo>
                <a:cubicBezTo>
                  <a:pt x="3724699" y="3229715"/>
                  <a:pt x="3718441" y="3263433"/>
                  <a:pt x="3696152" y="3285722"/>
                </a:cubicBezTo>
                <a:lnTo>
                  <a:pt x="3477401" y="3504473"/>
                </a:lnTo>
                <a:cubicBezTo>
                  <a:pt x="3455103" y="3526771"/>
                  <a:pt x="3421375" y="3533029"/>
                  <a:pt x="3392591" y="3520228"/>
                </a:cubicBezTo>
                <a:lnTo>
                  <a:pt x="3176345" y="3424187"/>
                </a:lnTo>
                <a:cubicBezTo>
                  <a:pt x="3044271" y="3507226"/>
                  <a:pt x="2900929" y="3566643"/>
                  <a:pt x="2749158" y="3601266"/>
                </a:cubicBezTo>
                <a:lnTo>
                  <a:pt x="2664224" y="3821932"/>
                </a:lnTo>
                <a:cubicBezTo>
                  <a:pt x="2652908" y="3851354"/>
                  <a:pt x="2624638" y="3870757"/>
                  <a:pt x="2593110" y="3870757"/>
                </a:cubicBezTo>
                <a:lnTo>
                  <a:pt x="2283747" y="3870757"/>
                </a:lnTo>
                <a:cubicBezTo>
                  <a:pt x="2252220" y="3870757"/>
                  <a:pt x="2223959" y="3851345"/>
                  <a:pt x="2212634" y="3821932"/>
                </a:cubicBezTo>
                <a:lnTo>
                  <a:pt x="2127671" y="3601209"/>
                </a:lnTo>
                <a:cubicBezTo>
                  <a:pt x="1976014" y="3566605"/>
                  <a:pt x="1832710" y="3507197"/>
                  <a:pt x="1700598" y="3424158"/>
                </a:cubicBezTo>
                <a:lnTo>
                  <a:pt x="1484257" y="3520237"/>
                </a:lnTo>
                <a:cubicBezTo>
                  <a:pt x="1455444" y="3533029"/>
                  <a:pt x="1421744" y="3526761"/>
                  <a:pt x="1399446" y="3504473"/>
                </a:cubicBezTo>
                <a:lnTo>
                  <a:pt x="1180695" y="3285731"/>
                </a:lnTo>
                <a:cubicBezTo>
                  <a:pt x="1158407" y="3263443"/>
                  <a:pt x="1152149" y="3229734"/>
                  <a:pt x="1164941" y="3200921"/>
                </a:cubicBezTo>
                <a:lnTo>
                  <a:pt x="1260991" y="2984665"/>
                </a:lnTo>
                <a:cubicBezTo>
                  <a:pt x="1177962" y="2852601"/>
                  <a:pt x="1118535" y="2709250"/>
                  <a:pt x="1083902" y="2557478"/>
                </a:cubicBezTo>
                <a:lnTo>
                  <a:pt x="863236" y="2472544"/>
                </a:lnTo>
                <a:cubicBezTo>
                  <a:pt x="833823" y="2461228"/>
                  <a:pt x="814411" y="2432958"/>
                  <a:pt x="814411" y="2401430"/>
                </a:cubicBezTo>
                <a:lnTo>
                  <a:pt x="814411" y="2092068"/>
                </a:lnTo>
                <a:cubicBezTo>
                  <a:pt x="814411" y="2060540"/>
                  <a:pt x="833823" y="2032279"/>
                  <a:pt x="863236" y="2020954"/>
                </a:cubicBezTo>
                <a:close/>
                <a:moveTo>
                  <a:pt x="1177266" y="2063369"/>
                </a:moveTo>
                <a:lnTo>
                  <a:pt x="966802" y="2144379"/>
                </a:lnTo>
                <a:lnTo>
                  <a:pt x="966802" y="2349100"/>
                </a:lnTo>
                <a:lnTo>
                  <a:pt x="1177219" y="2430091"/>
                </a:lnTo>
                <a:cubicBezTo>
                  <a:pt x="1201660" y="2439502"/>
                  <a:pt x="1219557" y="2460809"/>
                  <a:pt x="1224615" y="2486508"/>
                </a:cubicBezTo>
                <a:cubicBezTo>
                  <a:pt x="1256276" y="2647633"/>
                  <a:pt x="1318874" y="2798632"/>
                  <a:pt x="1410657" y="2935326"/>
                </a:cubicBezTo>
                <a:cubicBezTo>
                  <a:pt x="1425259" y="2957071"/>
                  <a:pt x="1427669" y="2984799"/>
                  <a:pt x="1417039" y="3008735"/>
                </a:cubicBezTo>
                <a:lnTo>
                  <a:pt x="1325456" y="3214951"/>
                </a:lnTo>
                <a:lnTo>
                  <a:pt x="1470208" y="3359712"/>
                </a:lnTo>
                <a:lnTo>
                  <a:pt x="1676510" y="3268091"/>
                </a:lnTo>
                <a:cubicBezTo>
                  <a:pt x="1700446" y="3257471"/>
                  <a:pt x="1728164" y="3259871"/>
                  <a:pt x="1749909" y="3274463"/>
                </a:cubicBezTo>
                <a:cubicBezTo>
                  <a:pt x="1886669" y="3366275"/>
                  <a:pt x="2037631" y="3428864"/>
                  <a:pt x="2198613" y="3460477"/>
                </a:cubicBezTo>
                <a:cubicBezTo>
                  <a:pt x="2224311" y="3465525"/>
                  <a:pt x="2245628" y="3483432"/>
                  <a:pt x="2255039" y="3507883"/>
                </a:cubicBezTo>
                <a:lnTo>
                  <a:pt x="2336059" y="3718357"/>
                </a:lnTo>
                <a:lnTo>
                  <a:pt x="2540780" y="3718357"/>
                </a:lnTo>
                <a:lnTo>
                  <a:pt x="2621771" y="3507940"/>
                </a:lnTo>
                <a:cubicBezTo>
                  <a:pt x="2631172" y="3483489"/>
                  <a:pt x="2652489" y="3465592"/>
                  <a:pt x="2678197" y="3460534"/>
                </a:cubicBezTo>
                <a:cubicBezTo>
                  <a:pt x="2839303" y="3428892"/>
                  <a:pt x="2990312" y="3366294"/>
                  <a:pt x="3127005" y="3274502"/>
                </a:cubicBezTo>
                <a:cubicBezTo>
                  <a:pt x="3148751" y="3259900"/>
                  <a:pt x="3176478" y="3257480"/>
                  <a:pt x="3200414" y="3268120"/>
                </a:cubicBezTo>
                <a:lnTo>
                  <a:pt x="3406621" y="3359702"/>
                </a:lnTo>
                <a:lnTo>
                  <a:pt x="3551373" y="3214941"/>
                </a:lnTo>
                <a:lnTo>
                  <a:pt x="3459751" y="3008649"/>
                </a:lnTo>
                <a:cubicBezTo>
                  <a:pt x="3449122" y="2984713"/>
                  <a:pt x="3451532" y="2956995"/>
                  <a:pt x="3466133" y="2935250"/>
                </a:cubicBezTo>
                <a:cubicBezTo>
                  <a:pt x="3557954" y="2798480"/>
                  <a:pt x="3620534" y="2647518"/>
                  <a:pt x="3652147" y="2486546"/>
                </a:cubicBezTo>
                <a:cubicBezTo>
                  <a:pt x="3657186" y="2460838"/>
                  <a:pt x="3675093" y="2439521"/>
                  <a:pt x="3699544" y="2430120"/>
                </a:cubicBezTo>
                <a:lnTo>
                  <a:pt x="3910027" y="2349100"/>
                </a:lnTo>
                <a:lnTo>
                  <a:pt x="3910027" y="2144379"/>
                </a:lnTo>
                <a:lnTo>
                  <a:pt x="3699610" y="2063388"/>
                </a:lnTo>
                <a:cubicBezTo>
                  <a:pt x="3675169" y="2053977"/>
                  <a:pt x="3657262" y="2032670"/>
                  <a:pt x="3652214" y="2006962"/>
                </a:cubicBezTo>
                <a:cubicBezTo>
                  <a:pt x="3620572" y="1845847"/>
                  <a:pt x="3557964" y="1694847"/>
                  <a:pt x="3466171" y="1558153"/>
                </a:cubicBezTo>
                <a:cubicBezTo>
                  <a:pt x="3451570" y="1536408"/>
                  <a:pt x="3449160" y="1508681"/>
                  <a:pt x="3459790" y="1484744"/>
                </a:cubicBezTo>
                <a:lnTo>
                  <a:pt x="3551373" y="1278528"/>
                </a:lnTo>
                <a:lnTo>
                  <a:pt x="3406621" y="1133777"/>
                </a:lnTo>
                <a:lnTo>
                  <a:pt x="3200319" y="1225398"/>
                </a:lnTo>
                <a:cubicBezTo>
                  <a:pt x="3176392" y="1236028"/>
                  <a:pt x="3148675" y="1233627"/>
                  <a:pt x="3126919" y="1219025"/>
                </a:cubicBezTo>
                <a:cubicBezTo>
                  <a:pt x="2990159" y="1127214"/>
                  <a:pt x="2839188" y="1064625"/>
                  <a:pt x="2678216" y="1033012"/>
                </a:cubicBezTo>
                <a:cubicBezTo>
                  <a:pt x="2652508" y="1027963"/>
                  <a:pt x="2631200" y="1010056"/>
                  <a:pt x="2621790" y="985606"/>
                </a:cubicBezTo>
                <a:lnTo>
                  <a:pt x="2540770" y="775132"/>
                </a:lnTo>
                <a:lnTo>
                  <a:pt x="2336059" y="775132"/>
                </a:lnTo>
                <a:lnTo>
                  <a:pt x="2255039" y="985606"/>
                </a:lnTo>
                <a:cubicBezTo>
                  <a:pt x="2245628" y="1010056"/>
                  <a:pt x="2224311" y="1027954"/>
                  <a:pt x="2198613" y="1033012"/>
                </a:cubicBezTo>
                <a:cubicBezTo>
                  <a:pt x="2037640" y="1064625"/>
                  <a:pt x="1886660" y="1127214"/>
                  <a:pt x="1749890" y="1219025"/>
                </a:cubicBezTo>
                <a:cubicBezTo>
                  <a:pt x="1728135" y="1233618"/>
                  <a:pt x="1700408" y="1236018"/>
                  <a:pt x="1676490" y="1225398"/>
                </a:cubicBezTo>
                <a:lnTo>
                  <a:pt x="1470208" y="1133777"/>
                </a:lnTo>
                <a:lnTo>
                  <a:pt x="1325456" y="1278538"/>
                </a:lnTo>
                <a:lnTo>
                  <a:pt x="1417058" y="1484811"/>
                </a:lnTo>
                <a:cubicBezTo>
                  <a:pt x="1427688" y="1508747"/>
                  <a:pt x="1425278" y="1536475"/>
                  <a:pt x="1410676" y="1558220"/>
                </a:cubicBezTo>
                <a:cubicBezTo>
                  <a:pt x="1318855" y="1694971"/>
                  <a:pt x="1256276" y="1845951"/>
                  <a:pt x="1224663" y="2006943"/>
                </a:cubicBezTo>
                <a:cubicBezTo>
                  <a:pt x="1219614" y="2032641"/>
                  <a:pt x="1201707" y="2053958"/>
                  <a:pt x="1177266" y="2063369"/>
                </a:cubicBezTo>
                <a:close/>
              </a:path>
            </a:pathLst>
          </a:custGeom>
          <a:noFill/>
          <a:ln w="16073" cap="flat">
            <a:solidFill>
              <a:schemeClr val="bg1">
                <a:alpha val="41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A9DBB01-8635-2773-92B7-29675FBA19B8}"/>
              </a:ext>
            </a:extLst>
          </p:cNvPr>
          <p:cNvGrpSpPr/>
          <p:nvPr/>
        </p:nvGrpSpPr>
        <p:grpSpPr>
          <a:xfrm>
            <a:off x="7824657" y="1165069"/>
            <a:ext cx="3928170" cy="2440124"/>
            <a:chOff x="7824657" y="1165069"/>
            <a:chExt cx="3928170" cy="2440124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7F5DFC5-30FA-3C39-375C-65F34411FD7B}"/>
                </a:ext>
              </a:extLst>
            </p:cNvPr>
            <p:cNvGrpSpPr/>
            <p:nvPr/>
          </p:nvGrpSpPr>
          <p:grpSpPr>
            <a:xfrm>
              <a:off x="7824657" y="1866937"/>
              <a:ext cx="1738257" cy="1738256"/>
              <a:chOff x="7824657" y="1866937"/>
              <a:chExt cx="1738257" cy="1738256"/>
            </a:xfrm>
          </p:grpSpPr>
          <p:sp>
            <p:nvSpPr>
              <p:cNvPr id="3" name="Freeform: Shape 2">
                <a:extLst>
                  <a:ext uri="{FF2B5EF4-FFF2-40B4-BE49-F238E27FC236}">
                    <a16:creationId xmlns:a16="http://schemas.microsoft.com/office/drawing/2014/main" id="{44F3BD7D-AF5C-F8B3-C3AD-8A2F242171B8}"/>
                  </a:ext>
                </a:extLst>
              </p:cNvPr>
              <p:cNvSpPr/>
              <p:nvPr/>
            </p:nvSpPr>
            <p:spPr>
              <a:xfrm>
                <a:off x="7824657" y="1866937"/>
                <a:ext cx="1738257" cy="1738256"/>
              </a:xfrm>
              <a:custGeom>
                <a:avLst/>
                <a:gdLst>
                  <a:gd name="connsiteX0" fmla="*/ 0 w 2057840"/>
                  <a:gd name="connsiteY0" fmla="*/ 2057840 h 2057840"/>
                  <a:gd name="connsiteX1" fmla="*/ 2057840 w 2057840"/>
                  <a:gd name="connsiteY1" fmla="*/ 0 h 2057840"/>
                  <a:gd name="connsiteX2" fmla="*/ 2057840 w 2057840"/>
                  <a:gd name="connsiteY2" fmla="*/ 2057840 h 2057840"/>
                  <a:gd name="connsiteX3" fmla="*/ 0 w 2057840"/>
                  <a:gd name="connsiteY3" fmla="*/ 2057840 h 205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840" h="2057840">
                    <a:moveTo>
                      <a:pt x="0" y="0"/>
                    </a:moveTo>
                    <a:cubicBezTo>
                      <a:pt x="1136514" y="0"/>
                      <a:pt x="2057840" y="921326"/>
                      <a:pt x="2057840" y="2057840"/>
                    </a:cubicBezTo>
                    <a:lnTo>
                      <a:pt x="0" y="20578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2F9D"/>
              </a:solidFill>
              <a:ln w="5220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0"/>
              <a:lstStyle/>
              <a:p>
                <a:endParaRPr lang="en-IE" sz="1400" dirty="0">
                  <a:solidFill>
                    <a:prstClr val="white"/>
                  </a:solidFill>
                  <a:latin typeface="Poppin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0F31796-90F7-E606-925A-E2B977ADC604}"/>
                  </a:ext>
                </a:extLst>
              </p:cNvPr>
              <p:cNvSpPr txBox="1"/>
              <p:nvPr/>
            </p:nvSpPr>
            <p:spPr>
              <a:xfrm>
                <a:off x="7941527" y="3061781"/>
                <a:ext cx="880049" cy="215444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IE" sz="1400" b="1" dirty="0">
                    <a:solidFill>
                      <a:prstClr val="white"/>
                    </a:solidFill>
                    <a:latin typeface="Poppins"/>
                  </a:rPr>
                  <a:t>ANALYSIS</a:t>
                </a: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3BE2550D-BC32-A955-0AC7-176E071135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941527" y="2396545"/>
                <a:ext cx="407573" cy="407570"/>
              </a:xfrm>
              <a:prstGeom prst="rect">
                <a:avLst/>
              </a:prstGeom>
            </p:spPr>
          </p:pic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2E323D0D-F8FF-8667-CDC1-7426909D9EE9}"/>
                </a:ext>
              </a:extLst>
            </p:cNvPr>
            <p:cNvSpPr txBox="1">
              <a:spLocks/>
            </p:cNvSpPr>
            <p:nvPr/>
          </p:nvSpPr>
          <p:spPr>
            <a:xfrm>
              <a:off x="9576567" y="1165069"/>
              <a:ext cx="2176260" cy="1677382"/>
            </a:xfrm>
            <a:prstGeom prst="rect">
              <a:avLst/>
            </a:prstGeom>
          </p:spPr>
          <p:txBody>
            <a:bodyPr vert="horz" wrap="square" lIns="15240" tIns="7620" rIns="15240" bIns="7620" rtlCol="0">
              <a:spAutoFit/>
            </a:bodyPr>
            <a:lstStyle>
              <a:lvl1pPr marL="194310" indent="-194310" algn="l" defTabSz="777240" rtl="0" eaLnBrk="1" latinLnBrk="0" hangingPunct="1">
                <a:lnSpc>
                  <a:spcPct val="90000"/>
                </a:lnSpc>
                <a:spcBef>
                  <a:spcPts val="85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̶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70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ourier New" panose="02070309020205020404" pitchFamily="49" charset="0"/>
                <a:buChar char="o"/>
                <a:tabLst>
                  <a:tab pos="627063" algn="l"/>
                </a:tabLs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2013" indent="-23495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42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Poppins" panose="02000000000000000000" pitchFamily="2" charset="0"/>
                <a:buChar char="›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3741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2603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465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0327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MAPP Data Collation and Aggregation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Data Analytics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Available Frameworks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Sector Analysis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Category Analysis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9A7E17D-694C-1461-4FC0-B7E644224C58}"/>
              </a:ext>
            </a:extLst>
          </p:cNvPr>
          <p:cNvGrpSpPr/>
          <p:nvPr/>
        </p:nvGrpSpPr>
        <p:grpSpPr>
          <a:xfrm>
            <a:off x="3746313" y="1165069"/>
            <a:ext cx="3998054" cy="2440124"/>
            <a:chOff x="3746313" y="1165069"/>
            <a:chExt cx="3998054" cy="2440124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CE31911-CACA-1FA0-EEA9-2680EBD25752}"/>
                </a:ext>
              </a:extLst>
            </p:cNvPr>
            <p:cNvGrpSpPr/>
            <p:nvPr/>
          </p:nvGrpSpPr>
          <p:grpSpPr>
            <a:xfrm>
              <a:off x="6006110" y="1866937"/>
              <a:ext cx="1738257" cy="1738256"/>
              <a:chOff x="6006110" y="1866937"/>
              <a:chExt cx="1738257" cy="1738256"/>
            </a:xfrm>
          </p:grpSpPr>
          <p:sp>
            <p:nvSpPr>
              <p:cNvPr id="2" name="Freeform: Shape 1">
                <a:extLst>
                  <a:ext uri="{FF2B5EF4-FFF2-40B4-BE49-F238E27FC236}">
                    <a16:creationId xmlns:a16="http://schemas.microsoft.com/office/drawing/2014/main" id="{4796A7FB-A639-C9D1-423C-D0454D8233C2}"/>
                  </a:ext>
                </a:extLst>
              </p:cNvPr>
              <p:cNvSpPr/>
              <p:nvPr/>
            </p:nvSpPr>
            <p:spPr>
              <a:xfrm>
                <a:off x="6006110" y="1866937"/>
                <a:ext cx="1738257" cy="1738256"/>
              </a:xfrm>
              <a:custGeom>
                <a:avLst/>
                <a:gdLst>
                  <a:gd name="connsiteX0" fmla="*/ 0 w 2057840"/>
                  <a:gd name="connsiteY0" fmla="*/ 2057840 h 2057840"/>
                  <a:gd name="connsiteX1" fmla="*/ 2057840 w 2057840"/>
                  <a:gd name="connsiteY1" fmla="*/ 0 h 2057840"/>
                  <a:gd name="connsiteX2" fmla="*/ 2057840 w 2057840"/>
                  <a:gd name="connsiteY2" fmla="*/ 2057840 h 2057840"/>
                  <a:gd name="connsiteX3" fmla="*/ 0 w 2057840"/>
                  <a:gd name="connsiteY3" fmla="*/ 2057840 h 205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840" h="2057840">
                    <a:moveTo>
                      <a:pt x="0" y="2057840"/>
                    </a:moveTo>
                    <a:cubicBezTo>
                      <a:pt x="0" y="921326"/>
                      <a:pt x="921326" y="0"/>
                      <a:pt x="2057840" y="0"/>
                    </a:cubicBezTo>
                    <a:lnTo>
                      <a:pt x="2057840" y="2057840"/>
                    </a:lnTo>
                    <a:lnTo>
                      <a:pt x="0" y="2057840"/>
                    </a:lnTo>
                    <a:close/>
                  </a:path>
                </a:pathLst>
              </a:custGeom>
              <a:solidFill>
                <a:srgbClr val="00DDE0"/>
              </a:solidFill>
              <a:ln w="5220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0"/>
              <a:lstStyle/>
              <a:p>
                <a:pPr algn="r"/>
                <a:endParaRPr lang="en-IE" sz="1400" dirty="0">
                  <a:solidFill>
                    <a:prstClr val="white"/>
                  </a:solidFill>
                  <a:latin typeface="Poppin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1A471A3-F22B-EA37-AE69-63B061E5DB01}"/>
                  </a:ext>
                </a:extLst>
              </p:cNvPr>
              <p:cNvSpPr txBox="1"/>
              <p:nvPr/>
            </p:nvSpPr>
            <p:spPr>
              <a:xfrm>
                <a:off x="6466959" y="3061781"/>
                <a:ext cx="1239121" cy="215444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r"/>
                <a:r>
                  <a:rPr lang="en-IE" sz="1400" b="1" dirty="0">
                    <a:solidFill>
                      <a:prstClr val="white"/>
                    </a:solidFill>
                    <a:latin typeface="Poppins"/>
                  </a:rPr>
                  <a:t>ENGAGEMENT</a:t>
                </a:r>
              </a:p>
            </p:txBody>
          </p:sp>
          <p:pic>
            <p:nvPicPr>
              <p:cNvPr id="29" name="Graphic 28">
                <a:extLst>
                  <a:ext uri="{FF2B5EF4-FFF2-40B4-BE49-F238E27FC236}">
                    <a16:creationId xmlns:a16="http://schemas.microsoft.com/office/drawing/2014/main" id="{DA8CC8B3-EAE9-A92C-4B84-BFCE5ECFC4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116454" y="2370327"/>
                <a:ext cx="407573" cy="407573"/>
              </a:xfrm>
              <a:prstGeom prst="rect">
                <a:avLst/>
              </a:prstGeom>
            </p:spPr>
          </p:pic>
        </p:grpSp>
        <p:sp>
          <p:nvSpPr>
            <p:cNvPr id="42" name="Content Placeholder 2">
              <a:extLst>
                <a:ext uri="{FF2B5EF4-FFF2-40B4-BE49-F238E27FC236}">
                  <a16:creationId xmlns:a16="http://schemas.microsoft.com/office/drawing/2014/main" id="{EDCF87F7-785F-948B-76D3-B738BF4505FA}"/>
                </a:ext>
              </a:extLst>
            </p:cNvPr>
            <p:cNvSpPr txBox="1">
              <a:spLocks/>
            </p:cNvSpPr>
            <p:nvPr/>
          </p:nvSpPr>
          <p:spPr>
            <a:xfrm>
              <a:off x="3746313" y="1165069"/>
              <a:ext cx="2171924" cy="2146742"/>
            </a:xfrm>
            <a:prstGeom prst="rect">
              <a:avLst/>
            </a:prstGeom>
          </p:spPr>
          <p:txBody>
            <a:bodyPr vert="horz" wrap="square" lIns="15240" tIns="7620" rIns="15240" bIns="7620" rtlCol="0">
              <a:spAutoFit/>
            </a:bodyPr>
            <a:lstStyle>
              <a:lvl1pPr marL="194310" indent="-194310" algn="l" defTabSz="777240" rtl="0" eaLnBrk="1" latinLnBrk="0" hangingPunct="1">
                <a:lnSpc>
                  <a:spcPct val="90000"/>
                </a:lnSpc>
                <a:spcBef>
                  <a:spcPts val="85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̶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70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ourier New" panose="02070309020205020404" pitchFamily="49" charset="0"/>
                <a:buChar char="o"/>
                <a:tabLst>
                  <a:tab pos="627063" algn="l"/>
                </a:tabLs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2013" indent="-23495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42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Poppins" panose="02000000000000000000" pitchFamily="2" charset="0"/>
                <a:buChar char="›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3741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2603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465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0327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Education Partners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MAPP Submissions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Workshops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Information Sessions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Institution Report Reviews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Sourcing Team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members for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Framework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22D3C81-9873-FE0A-0585-5E8B1E7E51C0}"/>
              </a:ext>
            </a:extLst>
          </p:cNvPr>
          <p:cNvGrpSpPr/>
          <p:nvPr/>
        </p:nvGrpSpPr>
        <p:grpSpPr>
          <a:xfrm>
            <a:off x="7816852" y="3685482"/>
            <a:ext cx="3935975" cy="2512272"/>
            <a:chOff x="7816852" y="3685482"/>
            <a:chExt cx="3935975" cy="2512272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E43794C-DDB2-89C2-4DE4-3C2E9102345D}"/>
                </a:ext>
              </a:extLst>
            </p:cNvPr>
            <p:cNvGrpSpPr/>
            <p:nvPr/>
          </p:nvGrpSpPr>
          <p:grpSpPr>
            <a:xfrm>
              <a:off x="7816852" y="3685482"/>
              <a:ext cx="1738258" cy="1738257"/>
              <a:chOff x="7816852" y="3685482"/>
              <a:chExt cx="1738258" cy="1738257"/>
            </a:xfrm>
          </p:grpSpPr>
          <p:sp>
            <p:nvSpPr>
              <p:cNvPr id="4" name="Freeform: Shape 3">
                <a:extLst>
                  <a:ext uri="{FF2B5EF4-FFF2-40B4-BE49-F238E27FC236}">
                    <a16:creationId xmlns:a16="http://schemas.microsoft.com/office/drawing/2014/main" id="{39ACC846-F1CC-1ED2-9EB0-D45AA7EB344D}"/>
                  </a:ext>
                </a:extLst>
              </p:cNvPr>
              <p:cNvSpPr/>
              <p:nvPr/>
            </p:nvSpPr>
            <p:spPr>
              <a:xfrm>
                <a:off x="7816852" y="3685482"/>
                <a:ext cx="1738258" cy="1738257"/>
              </a:xfrm>
              <a:custGeom>
                <a:avLst/>
                <a:gdLst>
                  <a:gd name="connsiteX0" fmla="*/ 0 w 2057840"/>
                  <a:gd name="connsiteY0" fmla="*/ 2057840 h 2057840"/>
                  <a:gd name="connsiteX1" fmla="*/ 2057840 w 2057840"/>
                  <a:gd name="connsiteY1" fmla="*/ 0 h 2057840"/>
                  <a:gd name="connsiteX2" fmla="*/ 2057840 w 2057840"/>
                  <a:gd name="connsiteY2" fmla="*/ 2057840 h 2057840"/>
                  <a:gd name="connsiteX3" fmla="*/ 0 w 2057840"/>
                  <a:gd name="connsiteY3" fmla="*/ 2057840 h 205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840" h="2057840">
                    <a:moveTo>
                      <a:pt x="2057840" y="0"/>
                    </a:moveTo>
                    <a:cubicBezTo>
                      <a:pt x="2057840" y="1136514"/>
                      <a:pt x="1136514" y="2057840"/>
                      <a:pt x="0" y="2057840"/>
                    </a:cubicBezTo>
                    <a:lnTo>
                      <a:pt x="0" y="0"/>
                    </a:lnTo>
                    <a:lnTo>
                      <a:pt x="2057840" y="0"/>
                    </a:lnTo>
                    <a:close/>
                  </a:path>
                </a:pathLst>
              </a:custGeom>
              <a:solidFill>
                <a:srgbClr val="FB900E"/>
              </a:solidFill>
              <a:ln w="5220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endParaRPr lang="en-IE" sz="1400" dirty="0">
                  <a:solidFill>
                    <a:prstClr val="white"/>
                  </a:solidFill>
                  <a:latin typeface="Poppins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2E0AC12-4ED7-9934-DB26-253114D6EDB8}"/>
                  </a:ext>
                </a:extLst>
              </p:cNvPr>
              <p:cNvSpPr txBox="1"/>
              <p:nvPr/>
            </p:nvSpPr>
            <p:spPr>
              <a:xfrm>
                <a:off x="7941527" y="4086574"/>
                <a:ext cx="1014701" cy="215444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IE" sz="1400" b="1" dirty="0">
                    <a:solidFill>
                      <a:prstClr val="white"/>
                    </a:solidFill>
                    <a:latin typeface="Poppins"/>
                  </a:rPr>
                  <a:t>REPORTING</a:t>
                </a:r>
              </a:p>
            </p:txBody>
          </p:sp>
          <p:pic>
            <p:nvPicPr>
              <p:cNvPr id="34" name="Graphic 33">
                <a:extLst>
                  <a:ext uri="{FF2B5EF4-FFF2-40B4-BE49-F238E27FC236}">
                    <a16:creationId xmlns:a16="http://schemas.microsoft.com/office/drawing/2014/main" id="{06C82F78-073E-8C05-5DFB-F9047CD165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957468" y="4613358"/>
                <a:ext cx="407573" cy="407573"/>
              </a:xfrm>
              <a:prstGeom prst="rect">
                <a:avLst/>
              </a:prstGeom>
            </p:spPr>
          </p:pic>
        </p:grp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501EE576-2A1E-A34C-D4E5-6B65ADD0ED80}"/>
                </a:ext>
              </a:extLst>
            </p:cNvPr>
            <p:cNvSpPr txBox="1">
              <a:spLocks/>
            </p:cNvSpPr>
            <p:nvPr/>
          </p:nvSpPr>
          <p:spPr>
            <a:xfrm>
              <a:off x="9576567" y="4051012"/>
              <a:ext cx="2176260" cy="2146742"/>
            </a:xfrm>
            <a:prstGeom prst="rect">
              <a:avLst/>
            </a:prstGeom>
          </p:spPr>
          <p:txBody>
            <a:bodyPr vert="horz" wrap="square" lIns="15240" tIns="7620" rIns="15240" bIns="7620" rtlCol="0">
              <a:spAutoFit/>
            </a:bodyPr>
            <a:lstStyle>
              <a:lvl1pPr marL="194310" indent="-194310" algn="l" defTabSz="777240" rtl="0" eaLnBrk="1" latinLnBrk="0" hangingPunct="1">
                <a:lnSpc>
                  <a:spcPct val="90000"/>
                </a:lnSpc>
                <a:spcBef>
                  <a:spcPts val="85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̶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70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ourier New" panose="02070309020205020404" pitchFamily="49" charset="0"/>
                <a:buChar char="o"/>
                <a:tabLst>
                  <a:tab pos="627063" algn="l"/>
                </a:tabLs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2013" indent="-23495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42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Poppins" panose="02000000000000000000" pitchFamily="2" charset="0"/>
                <a:buChar char="›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3741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2603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465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0327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Institution Reports</a:t>
              </a:r>
            </a:p>
            <a:p>
              <a:pPr marL="465138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Lato" panose="020F0502020204030203" pitchFamily="34" charset="0"/>
                <a:buChar char="—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Performance Charts</a:t>
              </a:r>
            </a:p>
            <a:p>
              <a:pPr marL="465138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Lato" panose="020F0502020204030203" pitchFamily="34" charset="0"/>
                <a:buChar char="—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Forecast by Category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Sector Reports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Category Reports </a:t>
              </a:r>
            </a:p>
            <a:p>
              <a:pPr marL="231775" marR="0" lvl="0" indent="-231775" algn="l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Forecasted spend by Category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42E6EF7-4A69-9924-A4A0-6F9893A13136}"/>
              </a:ext>
            </a:extLst>
          </p:cNvPr>
          <p:cNvGrpSpPr/>
          <p:nvPr/>
        </p:nvGrpSpPr>
        <p:grpSpPr>
          <a:xfrm>
            <a:off x="3746314" y="3685483"/>
            <a:ext cx="4030298" cy="2473798"/>
            <a:chOff x="3746314" y="3685483"/>
            <a:chExt cx="4030298" cy="2473798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00299F6-2777-B48C-2A25-FFEB563F2384}"/>
                </a:ext>
              </a:extLst>
            </p:cNvPr>
            <p:cNvGrpSpPr/>
            <p:nvPr/>
          </p:nvGrpSpPr>
          <p:grpSpPr>
            <a:xfrm>
              <a:off x="6006110" y="3685483"/>
              <a:ext cx="1770502" cy="1738256"/>
              <a:chOff x="6006110" y="3685483"/>
              <a:chExt cx="1770502" cy="1738256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32838FC9-F4CB-FB7A-C7EC-AD4192801CE7}"/>
                  </a:ext>
                </a:extLst>
              </p:cNvPr>
              <p:cNvSpPr/>
              <p:nvPr/>
            </p:nvSpPr>
            <p:spPr>
              <a:xfrm>
                <a:off x="6006110" y="3685483"/>
                <a:ext cx="1738257" cy="1738256"/>
              </a:xfrm>
              <a:custGeom>
                <a:avLst/>
                <a:gdLst>
                  <a:gd name="connsiteX0" fmla="*/ 0 w 2057840"/>
                  <a:gd name="connsiteY0" fmla="*/ 2057840 h 2057840"/>
                  <a:gd name="connsiteX1" fmla="*/ 2057840 w 2057840"/>
                  <a:gd name="connsiteY1" fmla="*/ 0 h 2057840"/>
                  <a:gd name="connsiteX2" fmla="*/ 2057840 w 2057840"/>
                  <a:gd name="connsiteY2" fmla="*/ 2057840 h 2057840"/>
                  <a:gd name="connsiteX3" fmla="*/ 0 w 2057840"/>
                  <a:gd name="connsiteY3" fmla="*/ 2057840 h 205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840" h="2057840">
                    <a:moveTo>
                      <a:pt x="2057840" y="2057840"/>
                    </a:moveTo>
                    <a:cubicBezTo>
                      <a:pt x="921326" y="2057840"/>
                      <a:pt x="0" y="1136514"/>
                      <a:pt x="0" y="0"/>
                    </a:cubicBezTo>
                    <a:lnTo>
                      <a:pt x="2057840" y="0"/>
                    </a:lnTo>
                    <a:lnTo>
                      <a:pt x="2057840" y="2057840"/>
                    </a:lnTo>
                    <a:close/>
                  </a:path>
                </a:pathLst>
              </a:custGeom>
              <a:solidFill>
                <a:srgbClr val="0E6B77"/>
              </a:solidFill>
              <a:ln w="5220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endParaRPr lang="en-IE" sz="1400" dirty="0">
                  <a:solidFill>
                    <a:prstClr val="white"/>
                  </a:solidFill>
                  <a:latin typeface="Poppin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3453D65-5DD3-259B-46AD-F1475105F85F}"/>
                  </a:ext>
                </a:extLst>
              </p:cNvPr>
              <p:cNvSpPr txBox="1"/>
              <p:nvPr/>
            </p:nvSpPr>
            <p:spPr>
              <a:xfrm>
                <a:off x="6213684" y="4086574"/>
                <a:ext cx="1562928" cy="215444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IE" sz="1400" b="1" dirty="0">
                    <a:solidFill>
                      <a:prstClr val="white"/>
                    </a:solidFill>
                    <a:latin typeface="Poppins"/>
                  </a:rPr>
                  <a:t>COLLABORATION </a:t>
                </a:r>
              </a:p>
            </p:txBody>
          </p:sp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01672E48-F7F0-9258-B388-7E31AFECFD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194215" y="4631565"/>
                <a:ext cx="407573" cy="407573"/>
              </a:xfrm>
              <a:prstGeom prst="rect">
                <a:avLst/>
              </a:prstGeom>
            </p:spPr>
          </p:pic>
        </p:grpSp>
        <p:sp>
          <p:nvSpPr>
            <p:cNvPr id="44" name="Content Placeholder 2">
              <a:extLst>
                <a:ext uri="{FF2B5EF4-FFF2-40B4-BE49-F238E27FC236}">
                  <a16:creationId xmlns:a16="http://schemas.microsoft.com/office/drawing/2014/main" id="{F244D35A-9EA4-5186-DB06-E8B1B99A4231}"/>
                </a:ext>
              </a:extLst>
            </p:cNvPr>
            <p:cNvSpPr txBox="1">
              <a:spLocks/>
            </p:cNvSpPr>
            <p:nvPr/>
          </p:nvSpPr>
          <p:spPr>
            <a:xfrm>
              <a:off x="3746314" y="4051012"/>
              <a:ext cx="2171924" cy="2108269"/>
            </a:xfrm>
            <a:prstGeom prst="rect">
              <a:avLst/>
            </a:prstGeom>
          </p:spPr>
          <p:txBody>
            <a:bodyPr vert="horz" wrap="square" lIns="15240" tIns="7620" rIns="15240" bIns="7620" rtlCol="0">
              <a:spAutoFit/>
            </a:bodyPr>
            <a:lstStyle>
              <a:lvl1pPr marL="194310" indent="-194310" algn="l" defTabSz="777240" rtl="0" eaLnBrk="1" latinLnBrk="0" hangingPunct="1">
                <a:lnSpc>
                  <a:spcPct val="90000"/>
                </a:lnSpc>
                <a:spcBef>
                  <a:spcPts val="85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̶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70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ourier New" panose="02070309020205020404" pitchFamily="49" charset="0"/>
                <a:buChar char="o"/>
                <a:tabLst>
                  <a:tab pos="627063" algn="l"/>
                </a:tabLst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2013" indent="-23495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Calibri" panose="020F0502020204030204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4263" indent="-193675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Poppins" panose="02000000000000000000" pitchFamily="2" charset="0"/>
                <a:buChar char="›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3741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2603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465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03270" indent="-194310" algn="l" defTabSz="777240" rtl="0" eaLnBrk="1" latinLnBrk="0" hangingPunct="1">
                <a:lnSpc>
                  <a:spcPct val="90000"/>
                </a:lnSpc>
                <a:spcBef>
                  <a:spcPts val="425"/>
                </a:spcBef>
                <a:buFont typeface="Arial" panose="020B0604020202020204" pitchFamily="34" charset="0"/>
                <a:buChar char="•"/>
                <a:defRPr sz="153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Office of Government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Procurement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Central Procurement Bodies 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Category Councils 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Department of Education</a:t>
              </a:r>
            </a:p>
            <a:p>
              <a:pPr marL="231775" marR="0" lvl="0" indent="-231775" defTabSz="7772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t>Education Partner Feedback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6E35EB0B-3EDB-B24B-53D9-C39AF8E3A78A}"/>
              </a:ext>
            </a:extLst>
          </p:cNvPr>
          <p:cNvGrpSpPr/>
          <p:nvPr/>
        </p:nvGrpSpPr>
        <p:grpSpPr>
          <a:xfrm>
            <a:off x="7484432" y="3338482"/>
            <a:ext cx="600160" cy="613711"/>
            <a:chOff x="7484432" y="3338482"/>
            <a:chExt cx="600160" cy="613711"/>
          </a:xfrm>
          <a:solidFill>
            <a:srgbClr val="243D42"/>
          </a:solidFill>
        </p:grpSpPr>
        <p:sp>
          <p:nvSpPr>
            <p:cNvPr id="25" name="Arrow: Circular 24">
              <a:extLst>
                <a:ext uri="{FF2B5EF4-FFF2-40B4-BE49-F238E27FC236}">
                  <a16:creationId xmlns:a16="http://schemas.microsoft.com/office/drawing/2014/main" id="{E5254B45-DF6F-9195-103D-54F5A35E7353}"/>
                </a:ext>
              </a:extLst>
            </p:cNvPr>
            <p:cNvSpPr/>
            <p:nvPr/>
          </p:nvSpPr>
          <p:spPr>
            <a:xfrm>
              <a:off x="7484432" y="3338482"/>
              <a:ext cx="600160" cy="521878"/>
            </a:xfrm>
            <a:prstGeom prst="circularArrow">
              <a:avLst/>
            </a:prstGeom>
            <a:grpFill/>
            <a:ln w="5220" cap="flat">
              <a:solidFill>
                <a:schemeClr val="bg1"/>
              </a:solidFill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r"/>
              <a:endParaRPr lang="en-GB" sz="1400" dirty="0">
                <a:solidFill>
                  <a:prstClr val="white"/>
                </a:solidFill>
                <a:latin typeface="Poppins"/>
              </a:endParaRPr>
            </a:p>
          </p:txBody>
        </p:sp>
        <p:sp>
          <p:nvSpPr>
            <p:cNvPr id="26" name="Arrow: Circular 25">
              <a:extLst>
                <a:ext uri="{FF2B5EF4-FFF2-40B4-BE49-F238E27FC236}">
                  <a16:creationId xmlns:a16="http://schemas.microsoft.com/office/drawing/2014/main" id="{8D98AED3-61FE-D15E-A368-C22789090796}"/>
                </a:ext>
              </a:extLst>
            </p:cNvPr>
            <p:cNvSpPr/>
            <p:nvPr/>
          </p:nvSpPr>
          <p:spPr>
            <a:xfrm rot="10800000">
              <a:off x="7484432" y="3430315"/>
              <a:ext cx="600160" cy="521878"/>
            </a:xfrm>
            <a:prstGeom prst="circularArrow">
              <a:avLst/>
            </a:prstGeom>
            <a:grpFill/>
            <a:ln w="5220" cap="flat">
              <a:solidFill>
                <a:schemeClr val="bg1"/>
              </a:solidFill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r"/>
              <a:endParaRPr lang="en-GB" sz="1400" dirty="0">
                <a:solidFill>
                  <a:prstClr val="white"/>
                </a:solidFill>
                <a:latin typeface="Poppi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568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6B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Object 87" hidden="1">
            <a:extLst>
              <a:ext uri="{FF2B5EF4-FFF2-40B4-BE49-F238E27FC236}">
                <a16:creationId xmlns:a16="http://schemas.microsoft.com/office/drawing/2014/main" id="{950518A3-D605-C850-93DE-831EB9A963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9" imgH="319" progId="TCLayout.ActiveDocument.1">
                  <p:embed/>
                </p:oleObj>
              </mc:Choice>
              <mc:Fallback>
                <p:oleObj name="think-cell Slide" r:id="rId3" imgW="319" imgH="319" progId="TCLayout.ActiveDocument.1">
                  <p:embed/>
                  <p:pic>
                    <p:nvPicPr>
                      <p:cNvPr id="88" name="Object 87" hidden="1">
                        <a:extLst>
                          <a:ext uri="{FF2B5EF4-FFF2-40B4-BE49-F238E27FC236}">
                            <a16:creationId xmlns:a16="http://schemas.microsoft.com/office/drawing/2014/main" id="{950518A3-D605-C850-93DE-831EB9A96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99475E54-1788-DA7F-14D9-A47B30B430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5400000">
            <a:off x="11720185" y="5675709"/>
            <a:ext cx="636586" cy="318293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AA823918-9658-40CD-3891-2A2E8826A3CC}"/>
              </a:ext>
            </a:extLst>
          </p:cNvPr>
          <p:cNvGrpSpPr/>
          <p:nvPr/>
        </p:nvGrpSpPr>
        <p:grpSpPr>
          <a:xfrm>
            <a:off x="4001644" y="934253"/>
            <a:ext cx="791517" cy="329711"/>
            <a:chOff x="980349" y="1446261"/>
            <a:chExt cx="791517" cy="329711"/>
          </a:xfrm>
          <a:solidFill>
            <a:srgbClr val="FCA943">
              <a:alpha val="70000"/>
            </a:srgbClr>
          </a:solidFill>
        </p:grpSpPr>
        <p:grpSp>
          <p:nvGrpSpPr>
            <p:cNvPr id="8" name="Group 12">
              <a:extLst>
                <a:ext uri="{FF2B5EF4-FFF2-40B4-BE49-F238E27FC236}">
                  <a16:creationId xmlns:a16="http://schemas.microsoft.com/office/drawing/2014/main" id="{C93EF638-E407-E943-C6FF-F49F3A226EE1}"/>
                </a:ext>
              </a:extLst>
            </p:cNvPr>
            <p:cNvGrpSpPr/>
            <p:nvPr/>
          </p:nvGrpSpPr>
          <p:grpSpPr>
            <a:xfrm>
              <a:off x="980349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13" name="Freeform 13">
                <a:extLst>
                  <a:ext uri="{FF2B5EF4-FFF2-40B4-BE49-F238E27FC236}">
                    <a16:creationId xmlns:a16="http://schemas.microsoft.com/office/drawing/2014/main" id="{8D716A3C-935A-D599-F4E9-BAE5AD9FCADB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9" name="Group 14">
              <a:extLst>
                <a:ext uri="{FF2B5EF4-FFF2-40B4-BE49-F238E27FC236}">
                  <a16:creationId xmlns:a16="http://schemas.microsoft.com/office/drawing/2014/main" id="{50C6E601-CED1-4EB3-60B1-CD2DE1574722}"/>
                </a:ext>
              </a:extLst>
            </p:cNvPr>
            <p:cNvGrpSpPr/>
            <p:nvPr/>
          </p:nvGrpSpPr>
          <p:grpSpPr>
            <a:xfrm>
              <a:off x="1211252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52A475B8-6C1D-F7D9-E34A-2B10926EB2C8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10" name="Group 16">
              <a:extLst>
                <a:ext uri="{FF2B5EF4-FFF2-40B4-BE49-F238E27FC236}">
                  <a16:creationId xmlns:a16="http://schemas.microsoft.com/office/drawing/2014/main" id="{8DA37311-4382-7B1A-EC02-B7FE4F0AA5D1}"/>
                </a:ext>
              </a:extLst>
            </p:cNvPr>
            <p:cNvGrpSpPr/>
            <p:nvPr/>
          </p:nvGrpSpPr>
          <p:grpSpPr>
            <a:xfrm>
              <a:off x="1442155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11" name="Freeform 17">
                <a:extLst>
                  <a:ext uri="{FF2B5EF4-FFF2-40B4-BE49-F238E27FC236}">
                    <a16:creationId xmlns:a16="http://schemas.microsoft.com/office/drawing/2014/main" id="{B6E4336A-5F55-1900-5FAC-D001ED3811F5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3A94955D-7957-A776-A1D6-DE5C8AD96B84}"/>
              </a:ext>
            </a:extLst>
          </p:cNvPr>
          <p:cNvSpPr txBox="1"/>
          <p:nvPr/>
        </p:nvSpPr>
        <p:spPr>
          <a:xfrm>
            <a:off x="4001644" y="1577281"/>
            <a:ext cx="7842013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Planning Development Priorities 2023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88F835D-2E82-7B22-BF53-C0CDCD318B00}"/>
              </a:ext>
            </a:extLst>
          </p:cNvPr>
          <p:cNvGrpSpPr/>
          <p:nvPr/>
        </p:nvGrpSpPr>
        <p:grpSpPr>
          <a:xfrm>
            <a:off x="4025178" y="2705696"/>
            <a:ext cx="3366221" cy="423725"/>
            <a:chOff x="4025178" y="2705696"/>
            <a:chExt cx="3366221" cy="42372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3B10B9F-F531-F1B2-C8CD-3D43754003D0}"/>
                </a:ext>
              </a:extLst>
            </p:cNvPr>
            <p:cNvSpPr txBox="1"/>
            <p:nvPr/>
          </p:nvSpPr>
          <p:spPr>
            <a:xfrm>
              <a:off x="4624116" y="2794448"/>
              <a:ext cx="2767283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E-tenders Rollout</a:t>
              </a:r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5841AEB5-CEED-E1B4-9C07-2BB1C5D8F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25178" y="2705696"/>
              <a:ext cx="423725" cy="423725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4DBF874-18D0-89BA-EB1A-13BB8D23F34F}"/>
              </a:ext>
            </a:extLst>
          </p:cNvPr>
          <p:cNvGrpSpPr/>
          <p:nvPr/>
        </p:nvGrpSpPr>
        <p:grpSpPr>
          <a:xfrm>
            <a:off x="7757015" y="2705696"/>
            <a:ext cx="3593184" cy="423725"/>
            <a:chOff x="7757015" y="2705696"/>
            <a:chExt cx="3593184" cy="423725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ABD2B23-004A-5A86-4056-C5D614ADDD4A}"/>
                </a:ext>
              </a:extLst>
            </p:cNvPr>
            <p:cNvSpPr txBox="1"/>
            <p:nvPr/>
          </p:nvSpPr>
          <p:spPr>
            <a:xfrm>
              <a:off x="8310771" y="2794448"/>
              <a:ext cx="303942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National Threshold Review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22D02F65-0D2D-DF47-ACE6-4CAAA6F19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57015" y="2705696"/>
              <a:ext cx="423725" cy="423725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7EAE6DF0-DE69-344F-A9C9-8CD9FAF37805}"/>
              </a:ext>
            </a:extLst>
          </p:cNvPr>
          <p:cNvGrpSpPr/>
          <p:nvPr/>
        </p:nvGrpSpPr>
        <p:grpSpPr>
          <a:xfrm>
            <a:off x="4025178" y="3363183"/>
            <a:ext cx="3366222" cy="423724"/>
            <a:chOff x="4025178" y="3363183"/>
            <a:chExt cx="3366222" cy="423724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6F9A743C-56CE-2CB5-463B-AF02C0C05C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025178" y="3363183"/>
              <a:ext cx="423725" cy="423724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4CED240-BFDE-1A6F-5679-4AFBCE29B4DA}"/>
                </a:ext>
              </a:extLst>
            </p:cNvPr>
            <p:cNvSpPr txBox="1"/>
            <p:nvPr/>
          </p:nvSpPr>
          <p:spPr>
            <a:xfrm>
              <a:off x="4624117" y="3451935"/>
              <a:ext cx="2767283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Metrics and Indicators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D2D0AE1-CA52-204F-951D-CAF5409AB3E3}"/>
              </a:ext>
            </a:extLst>
          </p:cNvPr>
          <p:cNvGrpSpPr/>
          <p:nvPr/>
        </p:nvGrpSpPr>
        <p:grpSpPr>
          <a:xfrm>
            <a:off x="7757015" y="3363183"/>
            <a:ext cx="3593185" cy="423725"/>
            <a:chOff x="7757015" y="3363183"/>
            <a:chExt cx="3593185" cy="423725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86B2F9F-78AB-33E8-B9D4-BABD453C3D14}"/>
                </a:ext>
              </a:extLst>
            </p:cNvPr>
            <p:cNvSpPr txBox="1"/>
            <p:nvPr/>
          </p:nvSpPr>
          <p:spPr>
            <a:xfrm>
              <a:off x="8310772" y="3451935"/>
              <a:ext cx="303942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Sustainable Procurement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B4B1A46E-65EA-CABB-18A6-A3374CCD2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757015" y="3363183"/>
              <a:ext cx="423725" cy="423725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3B56065-A812-00BE-F21C-61C759D38C92}"/>
              </a:ext>
            </a:extLst>
          </p:cNvPr>
          <p:cNvGrpSpPr/>
          <p:nvPr/>
        </p:nvGrpSpPr>
        <p:grpSpPr>
          <a:xfrm>
            <a:off x="4025178" y="4020670"/>
            <a:ext cx="3366222" cy="423725"/>
            <a:chOff x="4025178" y="4020670"/>
            <a:chExt cx="3366222" cy="42372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4CA335E-FB97-706C-D552-5262A141ECB9}"/>
                </a:ext>
              </a:extLst>
            </p:cNvPr>
            <p:cNvSpPr txBox="1"/>
            <p:nvPr/>
          </p:nvSpPr>
          <p:spPr>
            <a:xfrm>
              <a:off x="4624117" y="4109422"/>
              <a:ext cx="2767283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Sourcing teams </a:t>
              </a: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BCE5FB7A-E18E-C151-2ADB-31349FD66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025178" y="4020670"/>
              <a:ext cx="423725" cy="423725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D49BCA7E-7A7F-FBAC-080E-D042585869BF}"/>
              </a:ext>
            </a:extLst>
          </p:cNvPr>
          <p:cNvGrpSpPr/>
          <p:nvPr/>
        </p:nvGrpSpPr>
        <p:grpSpPr>
          <a:xfrm>
            <a:off x="7757015" y="4020670"/>
            <a:ext cx="3593185" cy="423725"/>
            <a:chOff x="7757015" y="4020670"/>
            <a:chExt cx="3593185" cy="423725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D183422-F7D0-D042-2F08-26145C9AEF6F}"/>
                </a:ext>
              </a:extLst>
            </p:cNvPr>
            <p:cNvSpPr txBox="1"/>
            <p:nvPr/>
          </p:nvSpPr>
          <p:spPr>
            <a:xfrm>
              <a:off x="8310772" y="4109422"/>
              <a:ext cx="303942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Drawdown Mechanisms</a:t>
              </a: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CE841D9D-3D49-FFF0-53A5-D763F7EDD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757015" y="4020670"/>
              <a:ext cx="423725" cy="423725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2BD39AF-8477-1C7E-E425-29450440A825}"/>
              </a:ext>
            </a:extLst>
          </p:cNvPr>
          <p:cNvGrpSpPr/>
          <p:nvPr/>
        </p:nvGrpSpPr>
        <p:grpSpPr>
          <a:xfrm>
            <a:off x="4025178" y="4678157"/>
            <a:ext cx="3366222" cy="423725"/>
            <a:chOff x="4025178" y="4678157"/>
            <a:chExt cx="3366222" cy="42372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3EFE90B-133D-E109-C5A8-3C5E10C94A0B}"/>
                </a:ext>
              </a:extLst>
            </p:cNvPr>
            <p:cNvSpPr txBox="1"/>
            <p:nvPr/>
          </p:nvSpPr>
          <p:spPr>
            <a:xfrm>
              <a:off x="4624117" y="4766909"/>
              <a:ext cx="2767283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Category Councils</a:t>
              </a: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4825998F-42D5-F29C-C086-3639413126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25178" y="4678157"/>
              <a:ext cx="423725" cy="423725"/>
            </a:xfrm>
            <a:prstGeom prst="rect">
              <a:avLst/>
            </a:prstGeom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5C04D45-DC24-5D61-73C0-C80FCF6215D6}"/>
              </a:ext>
            </a:extLst>
          </p:cNvPr>
          <p:cNvGrpSpPr/>
          <p:nvPr/>
        </p:nvGrpSpPr>
        <p:grpSpPr>
          <a:xfrm>
            <a:off x="7757015" y="4678157"/>
            <a:ext cx="3593185" cy="423725"/>
            <a:chOff x="7757015" y="4678157"/>
            <a:chExt cx="3593185" cy="423725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8B3A937-4BE7-3D4D-0728-26DC0CC23817}"/>
                </a:ext>
              </a:extLst>
            </p:cNvPr>
            <p:cNvSpPr txBox="1"/>
            <p:nvPr/>
          </p:nvSpPr>
          <p:spPr>
            <a:xfrm>
              <a:off x="8310772" y="4766909"/>
              <a:ext cx="303942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Self Service Mini Competitions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9AEEE76F-7DB5-BBA1-06B5-9A02880DDA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757015" y="4678157"/>
              <a:ext cx="423725" cy="423725"/>
            </a:xfrm>
            <a:prstGeom prst="rect">
              <a:avLst/>
            </a:prstGeom>
          </p:spPr>
        </p:pic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B646A38-7B74-80E0-39E7-1DF11A859CF0}"/>
              </a:ext>
            </a:extLst>
          </p:cNvPr>
          <p:cNvGrpSpPr/>
          <p:nvPr/>
        </p:nvGrpSpPr>
        <p:grpSpPr>
          <a:xfrm>
            <a:off x="4025178" y="5335643"/>
            <a:ext cx="3366222" cy="423725"/>
            <a:chOff x="4025178" y="5335643"/>
            <a:chExt cx="3366222" cy="423725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C0179EF-A099-AB61-3BD4-B7EC85F68C26}"/>
                </a:ext>
              </a:extLst>
            </p:cNvPr>
            <p:cNvSpPr txBox="1"/>
            <p:nvPr/>
          </p:nvSpPr>
          <p:spPr>
            <a:xfrm>
              <a:off x="4624117" y="5424395"/>
              <a:ext cx="2767283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Individual HEI Engagement</a:t>
              </a: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19359A0E-BE7C-5287-49C0-2E033CA59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025178" y="5335643"/>
              <a:ext cx="423725" cy="423725"/>
            </a:xfrm>
            <a:prstGeom prst="rect">
              <a:avLst/>
            </a:prstGeom>
          </p:spPr>
        </p:pic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0559BCC-A736-DE56-5AF1-E005FA096F2C}"/>
              </a:ext>
            </a:extLst>
          </p:cNvPr>
          <p:cNvGrpSpPr/>
          <p:nvPr/>
        </p:nvGrpSpPr>
        <p:grpSpPr>
          <a:xfrm>
            <a:off x="7757015" y="5335643"/>
            <a:ext cx="3825413" cy="423725"/>
            <a:chOff x="7757015" y="5335643"/>
            <a:chExt cx="3825413" cy="423725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C22EAD2-68CF-3C2A-F4D2-A50D68550E55}"/>
                </a:ext>
              </a:extLst>
            </p:cNvPr>
            <p:cNvSpPr txBox="1"/>
            <p:nvPr/>
          </p:nvSpPr>
          <p:spPr>
            <a:xfrm>
              <a:off x="8310771" y="5424395"/>
              <a:ext cx="3271657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>
                <a:buClr>
                  <a:schemeClr val="tx2"/>
                </a:buClr>
                <a:buFont typeface="+mn-lt"/>
                <a:defRPr>
                  <a:latin typeface="Poppins" panose="00000500000000000000" pitchFamily="2" charset="0"/>
                </a:defRPr>
              </a:lvl1pPr>
              <a:lvl2pPr marL="209550" lvl="1" indent="-209550">
                <a:buClr>
                  <a:schemeClr val="tx2"/>
                </a:buClr>
                <a:buSzPct val="125000"/>
                <a:buFont typeface="+mn-lt"/>
                <a:buChar char="▪"/>
                <a:defRPr>
                  <a:latin typeface="Poppins" panose="00000500000000000000" pitchFamily="2" charset="0"/>
                </a:defRPr>
              </a:lvl2pPr>
              <a:lvl3pPr marL="447675" lvl="2" indent="-238125">
                <a:buClr>
                  <a:schemeClr val="tx2"/>
                </a:buClr>
                <a:buSzPct val="115000"/>
                <a:buFont typeface="+mn-lt"/>
                <a:buChar char="−"/>
                <a:defRPr>
                  <a:latin typeface="Poppins" panose="00000500000000000000" pitchFamily="2" charset="0"/>
                </a:defRPr>
              </a:lvl3pPr>
              <a:lvl4pPr marL="647700" lvl="3" indent="-200025">
                <a:buClr>
                  <a:schemeClr val="tx2"/>
                </a:buClr>
                <a:buSzPct val="110000"/>
                <a:buFont typeface="+mn-lt"/>
                <a:buChar char="•"/>
                <a:defRPr>
                  <a:latin typeface="Poppins" panose="00000500000000000000" pitchFamily="2" charset="0"/>
                </a:defRPr>
              </a:lvl4pPr>
              <a:lvl5pPr marL="809625" lvl="4" indent="-180975">
                <a:buClr>
                  <a:schemeClr val="tx2"/>
                </a:buClr>
                <a:buSzPct val="100000"/>
                <a:buFont typeface="+mn-lt"/>
                <a:buChar char="▫"/>
                <a:defRPr>
                  <a:latin typeface="Poppins" panose="00000500000000000000" pitchFamily="2" charset="0"/>
                </a:defRPr>
              </a:lvl5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+mn-lt"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+mn-cs"/>
                </a:rPr>
                <a:t>Central Repository – Buyer Zone</a:t>
              </a: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AD007074-8664-FDA8-87D8-73F6DA2C3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757015" y="5335643"/>
              <a:ext cx="423725" cy="423725"/>
            </a:xfrm>
            <a:prstGeom prst="rect">
              <a:avLst/>
            </a:prstGeom>
          </p:spPr>
        </p:pic>
      </p:grpSp>
      <p:sp>
        <p:nvSpPr>
          <p:cNvPr id="81" name="Rectangle: Single Corner Rounded 80">
            <a:extLst>
              <a:ext uri="{FF2B5EF4-FFF2-40B4-BE49-F238E27FC236}">
                <a16:creationId xmlns:a16="http://schemas.microsoft.com/office/drawing/2014/main" id="{289327EB-7E8F-C6CE-E37F-6FF02D563B9B}"/>
              </a:ext>
            </a:extLst>
          </p:cNvPr>
          <p:cNvSpPr/>
          <p:nvPr/>
        </p:nvSpPr>
        <p:spPr>
          <a:xfrm>
            <a:off x="0" y="0"/>
            <a:ext cx="3599544" cy="6858000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A1CEA5C-9137-7869-061B-B159CE427D03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A8EB6FD-0656-93F8-F16F-77ACDDA122D2}"/>
              </a:ext>
            </a:extLst>
          </p:cNvPr>
          <p:cNvGrpSpPr/>
          <p:nvPr/>
        </p:nvGrpSpPr>
        <p:grpSpPr>
          <a:xfrm>
            <a:off x="-1" y="6082301"/>
            <a:ext cx="1872343" cy="664552"/>
            <a:chOff x="-1" y="6082301"/>
            <a:chExt cx="1872343" cy="664552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5EB1EC5-E30C-9E94-8014-21BC3BD3C16D}"/>
                </a:ext>
              </a:extLst>
            </p:cNvPr>
            <p:cNvSpPr/>
            <p:nvPr/>
          </p:nvSpPr>
          <p:spPr>
            <a:xfrm rot="5400000" flipV="1">
              <a:off x="603895" y="5478405"/>
              <a:ext cx="664552" cy="1872343"/>
            </a:xfrm>
            <a:custGeom>
              <a:avLst/>
              <a:gdLst>
                <a:gd name="connsiteX0" fmla="*/ 693711 w 1298190"/>
                <a:gd name="connsiteY0" fmla="*/ 48 h 3657590"/>
                <a:gd name="connsiteX1" fmla="*/ 681011 w 1298190"/>
                <a:gd name="connsiteY1" fmla="*/ 48 h 3657590"/>
                <a:gd name="connsiteX2" fmla="*/ 681011 w 1298190"/>
                <a:gd name="connsiteY2" fmla="*/ 660902 h 3657590"/>
                <a:gd name="connsiteX3" fmla="*/ 679690 w 1298190"/>
                <a:gd name="connsiteY3" fmla="*/ 665095 h 3657590"/>
                <a:gd name="connsiteX4" fmla="*/ 678077 w 1298190"/>
                <a:gd name="connsiteY4" fmla="*/ 669818 h 3657590"/>
                <a:gd name="connsiteX5" fmla="*/ 676401 w 1298190"/>
                <a:gd name="connsiteY5" fmla="*/ 674352 h 3657590"/>
                <a:gd name="connsiteX6" fmla="*/ 674699 w 1298190"/>
                <a:gd name="connsiteY6" fmla="*/ 678682 h 3657590"/>
                <a:gd name="connsiteX7" fmla="*/ 672959 w 1298190"/>
                <a:gd name="connsiteY7" fmla="*/ 682835 h 3657590"/>
                <a:gd name="connsiteX8" fmla="*/ 671194 w 1298190"/>
                <a:gd name="connsiteY8" fmla="*/ 686824 h 3657590"/>
                <a:gd name="connsiteX9" fmla="*/ 669403 w 1298190"/>
                <a:gd name="connsiteY9" fmla="*/ 690648 h 3657590"/>
                <a:gd name="connsiteX10" fmla="*/ 667613 w 1298190"/>
                <a:gd name="connsiteY10" fmla="*/ 694289 h 3657590"/>
                <a:gd name="connsiteX11" fmla="*/ 665797 w 1298190"/>
                <a:gd name="connsiteY11" fmla="*/ 697797 h 3657590"/>
                <a:gd name="connsiteX12" fmla="*/ 663980 w 1298190"/>
                <a:gd name="connsiteY12" fmla="*/ 701151 h 3657590"/>
                <a:gd name="connsiteX13" fmla="*/ 662152 w 1298190"/>
                <a:gd name="connsiteY13" fmla="*/ 704376 h 3657590"/>
                <a:gd name="connsiteX14" fmla="*/ 660310 w 1298190"/>
                <a:gd name="connsiteY14" fmla="*/ 707476 h 3657590"/>
                <a:gd name="connsiteX15" fmla="*/ 658469 w 1298190"/>
                <a:gd name="connsiteY15" fmla="*/ 710432 h 3657590"/>
                <a:gd name="connsiteX16" fmla="*/ 656614 w 1298190"/>
                <a:gd name="connsiteY16" fmla="*/ 713281 h 3657590"/>
                <a:gd name="connsiteX17" fmla="*/ 654760 w 1298190"/>
                <a:gd name="connsiteY17" fmla="*/ 715993 h 3657590"/>
                <a:gd name="connsiteX18" fmla="*/ 652906 w 1298190"/>
                <a:gd name="connsiteY18" fmla="*/ 718598 h 3657590"/>
                <a:gd name="connsiteX19" fmla="*/ 651039 w 1298190"/>
                <a:gd name="connsiteY19" fmla="*/ 721089 h 3657590"/>
                <a:gd name="connsiteX20" fmla="*/ 649172 w 1298190"/>
                <a:gd name="connsiteY20" fmla="*/ 723465 h 3657590"/>
                <a:gd name="connsiteX21" fmla="*/ 647305 w 1298190"/>
                <a:gd name="connsiteY21" fmla="*/ 725722 h 3657590"/>
                <a:gd name="connsiteX22" fmla="*/ 645426 w 1298190"/>
                <a:gd name="connsiteY22" fmla="*/ 727886 h 3657590"/>
                <a:gd name="connsiteX23" fmla="*/ 643533 w 1298190"/>
                <a:gd name="connsiteY23" fmla="*/ 729939 h 3657590"/>
                <a:gd name="connsiteX24" fmla="*/ 612863 w 1298190"/>
                <a:gd name="connsiteY24" fmla="*/ 746936 h 3657590"/>
                <a:gd name="connsiteX25" fmla="*/ 553097 w 1298190"/>
                <a:gd name="connsiteY25" fmla="*/ 653094 h 3657590"/>
                <a:gd name="connsiteX26" fmla="*/ 552056 w 1298190"/>
                <a:gd name="connsiteY26" fmla="*/ 647543 h 3657590"/>
                <a:gd name="connsiteX27" fmla="*/ 546430 w 1298190"/>
                <a:gd name="connsiteY27" fmla="*/ 647910 h 3657590"/>
                <a:gd name="connsiteX28" fmla="*/ 385826 w 1298190"/>
                <a:gd name="connsiteY28" fmla="*/ 681580 h 3657590"/>
                <a:gd name="connsiteX29" fmla="*/ 384772 w 1298190"/>
                <a:gd name="connsiteY29" fmla="*/ 681961 h 3657590"/>
                <a:gd name="connsiteX30" fmla="*/ 382968 w 1298190"/>
                <a:gd name="connsiteY30" fmla="*/ 682607 h 3657590"/>
                <a:gd name="connsiteX31" fmla="*/ 380504 w 1298190"/>
                <a:gd name="connsiteY31" fmla="*/ 683510 h 3657590"/>
                <a:gd name="connsiteX32" fmla="*/ 381660 w 1298190"/>
                <a:gd name="connsiteY32" fmla="*/ 688402 h 3657590"/>
                <a:gd name="connsiteX33" fmla="*/ 381800 w 1298190"/>
                <a:gd name="connsiteY33" fmla="*/ 689021 h 3657590"/>
                <a:gd name="connsiteX34" fmla="*/ 383438 w 1298190"/>
                <a:gd name="connsiteY34" fmla="*/ 696542 h 3657590"/>
                <a:gd name="connsiteX35" fmla="*/ 384784 w 1298190"/>
                <a:gd name="connsiteY35" fmla="*/ 704058 h 3657590"/>
                <a:gd name="connsiteX36" fmla="*/ 385788 w 1298190"/>
                <a:gd name="connsiteY36" fmla="*/ 711067 h 3657590"/>
                <a:gd name="connsiteX37" fmla="*/ 386511 w 1298190"/>
                <a:gd name="connsiteY37" fmla="*/ 717661 h 3657590"/>
                <a:gd name="connsiteX38" fmla="*/ 387007 w 1298190"/>
                <a:gd name="connsiteY38" fmla="*/ 723907 h 3657590"/>
                <a:gd name="connsiteX39" fmla="*/ 387299 w 1298190"/>
                <a:gd name="connsiteY39" fmla="*/ 729825 h 3657590"/>
                <a:gd name="connsiteX40" fmla="*/ 387413 w 1298190"/>
                <a:gd name="connsiteY40" fmla="*/ 735480 h 3657590"/>
                <a:gd name="connsiteX41" fmla="*/ 387362 w 1298190"/>
                <a:gd name="connsiteY41" fmla="*/ 740849 h 3657590"/>
                <a:gd name="connsiteX42" fmla="*/ 387172 w 1298190"/>
                <a:gd name="connsiteY42" fmla="*/ 745968 h 3657590"/>
                <a:gd name="connsiteX43" fmla="*/ 386816 w 1298190"/>
                <a:gd name="connsiteY43" fmla="*/ 750845 h 3657590"/>
                <a:gd name="connsiteX44" fmla="*/ 386346 w 1298190"/>
                <a:gd name="connsiteY44" fmla="*/ 755493 h 3657590"/>
                <a:gd name="connsiteX45" fmla="*/ 385737 w 1298190"/>
                <a:gd name="connsiteY45" fmla="*/ 759923 h 3657590"/>
                <a:gd name="connsiteX46" fmla="*/ 385000 w 1298190"/>
                <a:gd name="connsiteY46" fmla="*/ 764130 h 3657590"/>
                <a:gd name="connsiteX47" fmla="*/ 384149 w 1298190"/>
                <a:gd name="connsiteY47" fmla="*/ 768128 h 3657590"/>
                <a:gd name="connsiteX48" fmla="*/ 383184 w 1298190"/>
                <a:gd name="connsiteY48" fmla="*/ 771914 h 3657590"/>
                <a:gd name="connsiteX49" fmla="*/ 382105 w 1298190"/>
                <a:gd name="connsiteY49" fmla="*/ 775485 h 3657590"/>
                <a:gd name="connsiteX50" fmla="*/ 380898 w 1298190"/>
                <a:gd name="connsiteY50" fmla="*/ 778834 h 3657590"/>
                <a:gd name="connsiteX51" fmla="*/ 379590 w 1298190"/>
                <a:gd name="connsiteY51" fmla="*/ 781984 h 3657590"/>
                <a:gd name="connsiteX52" fmla="*/ 378168 w 1298190"/>
                <a:gd name="connsiteY52" fmla="*/ 784906 h 3657590"/>
                <a:gd name="connsiteX53" fmla="*/ 376631 w 1298190"/>
                <a:gd name="connsiteY53" fmla="*/ 787600 h 3657590"/>
                <a:gd name="connsiteX54" fmla="*/ 374993 w 1298190"/>
                <a:gd name="connsiteY54" fmla="*/ 790075 h 3657590"/>
                <a:gd name="connsiteX55" fmla="*/ 373253 w 1298190"/>
                <a:gd name="connsiteY55" fmla="*/ 792313 h 3657590"/>
                <a:gd name="connsiteX56" fmla="*/ 365976 w 1298190"/>
                <a:gd name="connsiteY56" fmla="*/ 798519 h 3657590"/>
                <a:gd name="connsiteX57" fmla="*/ 352171 w 1298190"/>
                <a:gd name="connsiteY57" fmla="*/ 801952 h 3657590"/>
                <a:gd name="connsiteX58" fmla="*/ 267272 w 1298190"/>
                <a:gd name="connsiteY58" fmla="*/ 747149 h 3657590"/>
                <a:gd name="connsiteX59" fmla="*/ 263601 w 1298190"/>
                <a:gd name="connsiteY59" fmla="*/ 742867 h 3657590"/>
                <a:gd name="connsiteX60" fmla="*/ 258915 w 1298190"/>
                <a:gd name="connsiteY60" fmla="*/ 746017 h 3657590"/>
                <a:gd name="connsiteX61" fmla="*/ 172365 w 1298190"/>
                <a:gd name="connsiteY61" fmla="*/ 816948 h 3657590"/>
                <a:gd name="connsiteX62" fmla="*/ 136792 w 1298190"/>
                <a:gd name="connsiteY62" fmla="*/ 855555 h 3657590"/>
                <a:gd name="connsiteX63" fmla="*/ 133147 w 1298190"/>
                <a:gd name="connsiteY63" fmla="*/ 859875 h 3657590"/>
                <a:gd name="connsiteX64" fmla="*/ 137033 w 1298190"/>
                <a:gd name="connsiteY64" fmla="*/ 864003 h 3657590"/>
                <a:gd name="connsiteX65" fmla="*/ 151041 w 1298190"/>
                <a:gd name="connsiteY65" fmla="*/ 880523 h 3657590"/>
                <a:gd name="connsiteX66" fmla="*/ 154940 w 1298190"/>
                <a:gd name="connsiteY66" fmla="*/ 885806 h 3657590"/>
                <a:gd name="connsiteX67" fmla="*/ 159322 w 1298190"/>
                <a:gd name="connsiteY67" fmla="*/ 892181 h 3657590"/>
                <a:gd name="connsiteX68" fmla="*/ 163056 w 1298190"/>
                <a:gd name="connsiteY68" fmla="*/ 898050 h 3657590"/>
                <a:gd name="connsiteX69" fmla="*/ 166269 w 1298190"/>
                <a:gd name="connsiteY69" fmla="*/ 903521 h 3657590"/>
                <a:gd name="connsiteX70" fmla="*/ 169075 w 1298190"/>
                <a:gd name="connsiteY70" fmla="*/ 908666 h 3657590"/>
                <a:gd name="connsiteX71" fmla="*/ 171514 w 1298190"/>
                <a:gd name="connsiteY71" fmla="*/ 913543 h 3657590"/>
                <a:gd name="connsiteX72" fmla="*/ 173647 w 1298190"/>
                <a:gd name="connsiteY72" fmla="*/ 918191 h 3657590"/>
                <a:gd name="connsiteX73" fmla="*/ 175489 w 1298190"/>
                <a:gd name="connsiteY73" fmla="*/ 922626 h 3657590"/>
                <a:gd name="connsiteX74" fmla="*/ 177076 w 1298190"/>
                <a:gd name="connsiteY74" fmla="*/ 926854 h 3657590"/>
                <a:gd name="connsiteX75" fmla="*/ 178410 w 1298190"/>
                <a:gd name="connsiteY75" fmla="*/ 930906 h 3657590"/>
                <a:gd name="connsiteX76" fmla="*/ 179502 w 1298190"/>
                <a:gd name="connsiteY76" fmla="*/ 934791 h 3657590"/>
                <a:gd name="connsiteX77" fmla="*/ 180378 w 1298190"/>
                <a:gd name="connsiteY77" fmla="*/ 938511 h 3657590"/>
                <a:gd name="connsiteX78" fmla="*/ 181039 w 1298190"/>
                <a:gd name="connsiteY78" fmla="*/ 942083 h 3657590"/>
                <a:gd name="connsiteX79" fmla="*/ 181483 w 1298190"/>
                <a:gd name="connsiteY79" fmla="*/ 945486 h 3657590"/>
                <a:gd name="connsiteX80" fmla="*/ 181712 w 1298190"/>
                <a:gd name="connsiteY80" fmla="*/ 948751 h 3657590"/>
                <a:gd name="connsiteX81" fmla="*/ 181737 w 1298190"/>
                <a:gd name="connsiteY81" fmla="*/ 951861 h 3657590"/>
                <a:gd name="connsiteX82" fmla="*/ 181559 w 1298190"/>
                <a:gd name="connsiteY82" fmla="*/ 954833 h 3657590"/>
                <a:gd name="connsiteX83" fmla="*/ 181178 w 1298190"/>
                <a:gd name="connsiteY83" fmla="*/ 957665 h 3657590"/>
                <a:gd name="connsiteX84" fmla="*/ 180581 w 1298190"/>
                <a:gd name="connsiteY84" fmla="*/ 960345 h 3657590"/>
                <a:gd name="connsiteX85" fmla="*/ 179769 w 1298190"/>
                <a:gd name="connsiteY85" fmla="*/ 962869 h 3657590"/>
                <a:gd name="connsiteX86" fmla="*/ 178740 w 1298190"/>
                <a:gd name="connsiteY86" fmla="*/ 965246 h 3657590"/>
                <a:gd name="connsiteX87" fmla="*/ 177991 w 1298190"/>
                <a:gd name="connsiteY87" fmla="*/ 966654 h 3657590"/>
                <a:gd name="connsiteX88" fmla="*/ 177495 w 1298190"/>
                <a:gd name="connsiteY88" fmla="*/ 967468 h 3657590"/>
                <a:gd name="connsiteX89" fmla="*/ 175997 w 1298190"/>
                <a:gd name="connsiteY89" fmla="*/ 969552 h 3657590"/>
                <a:gd name="connsiteX90" fmla="*/ 132106 w 1298190"/>
                <a:gd name="connsiteY90" fmla="*/ 983586 h 3657590"/>
                <a:gd name="connsiteX91" fmla="*/ 66777 w 1298190"/>
                <a:gd name="connsiteY91" fmla="*/ 971481 h 3657590"/>
                <a:gd name="connsiteX92" fmla="*/ 63069 w 1298190"/>
                <a:gd name="connsiteY92" fmla="*/ 970172 h 3657590"/>
                <a:gd name="connsiteX93" fmla="*/ 61456 w 1298190"/>
                <a:gd name="connsiteY93" fmla="*/ 969602 h 3657590"/>
                <a:gd name="connsiteX94" fmla="*/ 58967 w 1298190"/>
                <a:gd name="connsiteY94" fmla="*/ 974672 h 3657590"/>
                <a:gd name="connsiteX95" fmla="*/ 7938 w 1298190"/>
                <a:gd name="connsiteY95" fmla="*/ 1130637 h 3657590"/>
                <a:gd name="connsiteX96" fmla="*/ 6948 w 1298190"/>
                <a:gd name="connsiteY96" fmla="*/ 1136199 h 3657590"/>
                <a:gd name="connsiteX97" fmla="*/ 12370 w 1298190"/>
                <a:gd name="connsiteY97" fmla="*/ 1137827 h 3657590"/>
                <a:gd name="connsiteX98" fmla="*/ 87122 w 1298190"/>
                <a:gd name="connsiteY98" fmla="*/ 1180560 h 3657590"/>
                <a:gd name="connsiteX99" fmla="*/ 89383 w 1298190"/>
                <a:gd name="connsiteY99" fmla="*/ 1183188 h 3657590"/>
                <a:gd name="connsiteX100" fmla="*/ 91377 w 1298190"/>
                <a:gd name="connsiteY100" fmla="*/ 1185754 h 3657590"/>
                <a:gd name="connsiteX101" fmla="*/ 93104 w 1298190"/>
                <a:gd name="connsiteY101" fmla="*/ 1188229 h 3657590"/>
                <a:gd name="connsiteX102" fmla="*/ 94577 w 1298190"/>
                <a:gd name="connsiteY102" fmla="*/ 1190621 h 3657590"/>
                <a:gd name="connsiteX103" fmla="*/ 95822 w 1298190"/>
                <a:gd name="connsiteY103" fmla="*/ 1192942 h 3657590"/>
                <a:gd name="connsiteX104" fmla="*/ 96863 w 1298190"/>
                <a:gd name="connsiteY104" fmla="*/ 1195219 h 3657590"/>
                <a:gd name="connsiteX105" fmla="*/ 97701 w 1298190"/>
                <a:gd name="connsiteY105" fmla="*/ 1197426 h 3657590"/>
                <a:gd name="connsiteX106" fmla="*/ 98349 w 1298190"/>
                <a:gd name="connsiteY106" fmla="*/ 1199586 h 3657590"/>
                <a:gd name="connsiteX107" fmla="*/ 98819 w 1298190"/>
                <a:gd name="connsiteY107" fmla="*/ 1201708 h 3657590"/>
                <a:gd name="connsiteX108" fmla="*/ 99124 w 1298190"/>
                <a:gd name="connsiteY108" fmla="*/ 1203802 h 3657590"/>
                <a:gd name="connsiteX109" fmla="*/ 99238 w 1298190"/>
                <a:gd name="connsiteY109" fmla="*/ 1205845 h 3657590"/>
                <a:gd name="connsiteX110" fmla="*/ 99238 w 1298190"/>
                <a:gd name="connsiteY110" fmla="*/ 1206277 h 3657590"/>
                <a:gd name="connsiteX111" fmla="*/ 99187 w 1298190"/>
                <a:gd name="connsiteY111" fmla="*/ 1207880 h 3657590"/>
                <a:gd name="connsiteX112" fmla="*/ 98946 w 1298190"/>
                <a:gd name="connsiteY112" fmla="*/ 1209884 h 3657590"/>
                <a:gd name="connsiteX113" fmla="*/ 98540 w 1298190"/>
                <a:gd name="connsiteY113" fmla="*/ 1211868 h 3657590"/>
                <a:gd name="connsiteX114" fmla="*/ 97968 w 1298190"/>
                <a:gd name="connsiteY114" fmla="*/ 1213847 h 3657590"/>
                <a:gd name="connsiteX115" fmla="*/ 97232 w 1298190"/>
                <a:gd name="connsiteY115" fmla="*/ 1215802 h 3657590"/>
                <a:gd name="connsiteX116" fmla="*/ 96330 w 1298190"/>
                <a:gd name="connsiteY116" fmla="*/ 1217757 h 3657590"/>
                <a:gd name="connsiteX117" fmla="*/ 95276 w 1298190"/>
                <a:gd name="connsiteY117" fmla="*/ 1219692 h 3657590"/>
                <a:gd name="connsiteX118" fmla="*/ 94082 w 1298190"/>
                <a:gd name="connsiteY118" fmla="*/ 1221606 h 3657590"/>
                <a:gd name="connsiteX119" fmla="*/ 92710 w 1298190"/>
                <a:gd name="connsiteY119" fmla="*/ 1223526 h 3657590"/>
                <a:gd name="connsiteX120" fmla="*/ 91225 w 1298190"/>
                <a:gd name="connsiteY120" fmla="*/ 1225416 h 3657590"/>
                <a:gd name="connsiteX121" fmla="*/ 89586 w 1298190"/>
                <a:gd name="connsiteY121" fmla="*/ 1227282 h 3657590"/>
                <a:gd name="connsiteX122" fmla="*/ 5436 w 1298190"/>
                <a:gd name="connsiteY122" fmla="*/ 1266016 h 3657590"/>
                <a:gd name="connsiteX123" fmla="*/ 3836 w 1298190"/>
                <a:gd name="connsiteY123" fmla="*/ 1266310 h 3657590"/>
                <a:gd name="connsiteX124" fmla="*/ -126 w 1298190"/>
                <a:gd name="connsiteY124" fmla="*/ 1267049 h 3657590"/>
                <a:gd name="connsiteX125" fmla="*/ 242 w 1298190"/>
                <a:gd name="connsiteY125" fmla="*/ 1272686 h 3657590"/>
                <a:gd name="connsiteX126" fmla="*/ 33922 w 1298190"/>
                <a:gd name="connsiteY126" fmla="*/ 1433290 h 3657590"/>
                <a:gd name="connsiteX127" fmla="*/ 35840 w 1298190"/>
                <a:gd name="connsiteY127" fmla="*/ 1438612 h 3657590"/>
                <a:gd name="connsiteX128" fmla="*/ 41352 w 1298190"/>
                <a:gd name="connsiteY128" fmla="*/ 1437303 h 3657590"/>
                <a:gd name="connsiteX129" fmla="*/ 88761 w 1298190"/>
                <a:gd name="connsiteY129" fmla="*/ 1431703 h 3657590"/>
                <a:gd name="connsiteX130" fmla="*/ 150864 w 1298190"/>
                <a:gd name="connsiteY130" fmla="*/ 1453128 h 3657590"/>
                <a:gd name="connsiteX131" fmla="*/ 126607 w 1298190"/>
                <a:gd name="connsiteY131" fmla="*/ 1524336 h 3657590"/>
                <a:gd name="connsiteX132" fmla="*/ 125400 w 1298190"/>
                <a:gd name="connsiteY132" fmla="*/ 1525771 h 3657590"/>
                <a:gd name="connsiteX133" fmla="*/ 124994 w 1298190"/>
                <a:gd name="connsiteY133" fmla="*/ 1526254 h 3657590"/>
                <a:gd name="connsiteX134" fmla="*/ 123279 w 1298190"/>
                <a:gd name="connsiteY134" fmla="*/ 1528261 h 3657590"/>
                <a:gd name="connsiteX135" fmla="*/ 121539 w 1298190"/>
                <a:gd name="connsiteY135" fmla="*/ 1530229 h 3657590"/>
                <a:gd name="connsiteX136" fmla="*/ 119749 w 1298190"/>
                <a:gd name="connsiteY136" fmla="*/ 1532223 h 3657590"/>
                <a:gd name="connsiteX137" fmla="*/ 117971 w 1298190"/>
                <a:gd name="connsiteY137" fmla="*/ 1534141 h 3657590"/>
                <a:gd name="connsiteX138" fmla="*/ 116116 w 1298190"/>
                <a:gd name="connsiteY138" fmla="*/ 1536109 h 3657590"/>
                <a:gd name="connsiteX139" fmla="*/ 114250 w 1298190"/>
                <a:gd name="connsiteY139" fmla="*/ 1538052 h 3657590"/>
                <a:gd name="connsiteX140" fmla="*/ 99492 w 1298190"/>
                <a:gd name="connsiteY140" fmla="*/ 1551870 h 3657590"/>
                <a:gd name="connsiteX141" fmla="*/ 99187 w 1298190"/>
                <a:gd name="connsiteY141" fmla="*/ 1552124 h 3657590"/>
                <a:gd name="connsiteX142" fmla="*/ 95200 w 1298190"/>
                <a:gd name="connsiteY142" fmla="*/ 1555540 h 3657590"/>
                <a:gd name="connsiteX143" fmla="*/ 98349 w 1298190"/>
                <a:gd name="connsiteY143" fmla="*/ 1560226 h 3657590"/>
                <a:gd name="connsiteX144" fmla="*/ 207899 w 1298190"/>
                <a:gd name="connsiteY144" fmla="*/ 1682311 h 3657590"/>
                <a:gd name="connsiteX145" fmla="*/ 212217 w 1298190"/>
                <a:gd name="connsiteY145" fmla="*/ 1685956 h 3657590"/>
                <a:gd name="connsiteX146" fmla="*/ 216332 w 1298190"/>
                <a:gd name="connsiteY146" fmla="*/ 1682083 h 3657590"/>
                <a:gd name="connsiteX147" fmla="*/ 303085 w 1298190"/>
                <a:gd name="connsiteY147" fmla="*/ 1637341 h 3657590"/>
                <a:gd name="connsiteX148" fmla="*/ 318998 w 1298190"/>
                <a:gd name="connsiteY148" fmla="*/ 1641113 h 3657590"/>
                <a:gd name="connsiteX149" fmla="*/ 323786 w 1298190"/>
                <a:gd name="connsiteY149" fmla="*/ 1752352 h 3657590"/>
                <a:gd name="connsiteX150" fmla="*/ 321907 w 1298190"/>
                <a:gd name="connsiteY150" fmla="*/ 1757686 h 3657590"/>
                <a:gd name="connsiteX151" fmla="*/ 326974 w 1298190"/>
                <a:gd name="connsiteY151" fmla="*/ 1760175 h 3657590"/>
                <a:gd name="connsiteX152" fmla="*/ 482968 w 1298190"/>
                <a:gd name="connsiteY152" fmla="*/ 1811203 h 3657590"/>
                <a:gd name="connsiteX153" fmla="*/ 488543 w 1298190"/>
                <a:gd name="connsiteY153" fmla="*/ 1812181 h 3657590"/>
                <a:gd name="connsiteX154" fmla="*/ 489800 w 1298190"/>
                <a:gd name="connsiteY154" fmla="*/ 1807990 h 3657590"/>
                <a:gd name="connsiteX155" fmla="*/ 490169 w 1298190"/>
                <a:gd name="connsiteY155" fmla="*/ 1806771 h 3657590"/>
                <a:gd name="connsiteX156" fmla="*/ 531647 w 1298190"/>
                <a:gd name="connsiteY156" fmla="*/ 1733124 h 3657590"/>
                <a:gd name="connsiteX157" fmla="*/ 533526 w 1298190"/>
                <a:gd name="connsiteY157" fmla="*/ 1731409 h 3657590"/>
                <a:gd name="connsiteX158" fmla="*/ 535406 w 1298190"/>
                <a:gd name="connsiteY158" fmla="*/ 1729822 h 3657590"/>
                <a:gd name="connsiteX159" fmla="*/ 537286 w 1298190"/>
                <a:gd name="connsiteY159" fmla="*/ 1728323 h 3657590"/>
                <a:gd name="connsiteX160" fmla="*/ 539178 w 1298190"/>
                <a:gd name="connsiteY160" fmla="*/ 1726952 h 3657590"/>
                <a:gd name="connsiteX161" fmla="*/ 541057 w 1298190"/>
                <a:gd name="connsiteY161" fmla="*/ 1725682 h 3657590"/>
                <a:gd name="connsiteX162" fmla="*/ 542962 w 1298190"/>
                <a:gd name="connsiteY162" fmla="*/ 1724539 h 3657590"/>
                <a:gd name="connsiteX163" fmla="*/ 544855 w 1298190"/>
                <a:gd name="connsiteY163" fmla="*/ 1723497 h 3657590"/>
                <a:gd name="connsiteX164" fmla="*/ 546760 w 1298190"/>
                <a:gd name="connsiteY164" fmla="*/ 1722583 h 3657590"/>
                <a:gd name="connsiteX165" fmla="*/ 548665 w 1298190"/>
                <a:gd name="connsiteY165" fmla="*/ 1721795 h 3657590"/>
                <a:gd name="connsiteX166" fmla="*/ 550582 w 1298190"/>
                <a:gd name="connsiteY166" fmla="*/ 1721135 h 3657590"/>
                <a:gd name="connsiteX167" fmla="*/ 552500 w 1298190"/>
                <a:gd name="connsiteY167" fmla="*/ 1720602 h 3657590"/>
                <a:gd name="connsiteX168" fmla="*/ 554443 w 1298190"/>
                <a:gd name="connsiteY168" fmla="*/ 1720208 h 3657590"/>
                <a:gd name="connsiteX169" fmla="*/ 556374 w 1298190"/>
                <a:gd name="connsiteY169" fmla="*/ 1719967 h 3657590"/>
                <a:gd name="connsiteX170" fmla="*/ 558329 w 1298190"/>
                <a:gd name="connsiteY170" fmla="*/ 1719865 h 3657590"/>
                <a:gd name="connsiteX171" fmla="*/ 558583 w 1298190"/>
                <a:gd name="connsiteY171" fmla="*/ 1719865 h 3657590"/>
                <a:gd name="connsiteX172" fmla="*/ 560298 w 1298190"/>
                <a:gd name="connsiteY172" fmla="*/ 1719929 h 3657590"/>
                <a:gd name="connsiteX173" fmla="*/ 562279 w 1298190"/>
                <a:gd name="connsiteY173" fmla="*/ 1720170 h 3657590"/>
                <a:gd name="connsiteX174" fmla="*/ 564286 w 1298190"/>
                <a:gd name="connsiteY174" fmla="*/ 1720589 h 3657590"/>
                <a:gd name="connsiteX175" fmla="*/ 566318 w 1298190"/>
                <a:gd name="connsiteY175" fmla="*/ 1721186 h 3657590"/>
                <a:gd name="connsiteX176" fmla="*/ 568400 w 1298190"/>
                <a:gd name="connsiteY176" fmla="*/ 1721999 h 3657590"/>
                <a:gd name="connsiteX177" fmla="*/ 570521 w 1298190"/>
                <a:gd name="connsiteY177" fmla="*/ 1723002 h 3657590"/>
                <a:gd name="connsiteX178" fmla="*/ 572706 w 1298190"/>
                <a:gd name="connsiteY178" fmla="*/ 1724247 h 3657590"/>
                <a:gd name="connsiteX179" fmla="*/ 574903 w 1298190"/>
                <a:gd name="connsiteY179" fmla="*/ 1725707 h 3657590"/>
                <a:gd name="connsiteX180" fmla="*/ 618349 w 1298190"/>
                <a:gd name="connsiteY180" fmla="*/ 1813705 h 3657590"/>
                <a:gd name="connsiteX181" fmla="*/ 619378 w 1298190"/>
                <a:gd name="connsiteY181" fmla="*/ 1819255 h 3657590"/>
                <a:gd name="connsiteX182" fmla="*/ 625017 w 1298190"/>
                <a:gd name="connsiteY182" fmla="*/ 1818887 h 3657590"/>
                <a:gd name="connsiteX183" fmla="*/ 785621 w 1298190"/>
                <a:gd name="connsiteY183" fmla="*/ 1785257 h 3657590"/>
                <a:gd name="connsiteX184" fmla="*/ 790942 w 1298190"/>
                <a:gd name="connsiteY184" fmla="*/ 1783327 h 3657590"/>
                <a:gd name="connsiteX185" fmla="*/ 790421 w 1298190"/>
                <a:gd name="connsiteY185" fmla="*/ 1781130 h 3657590"/>
                <a:gd name="connsiteX186" fmla="*/ 789647 w 1298190"/>
                <a:gd name="connsiteY186" fmla="*/ 1777828 h 3657590"/>
                <a:gd name="connsiteX187" fmla="*/ 801927 w 1298190"/>
                <a:gd name="connsiteY187" fmla="*/ 1670742 h 3657590"/>
                <a:gd name="connsiteX188" fmla="*/ 803960 w 1298190"/>
                <a:gd name="connsiteY188" fmla="*/ 1669218 h 3657590"/>
                <a:gd name="connsiteX189" fmla="*/ 805471 w 1298190"/>
                <a:gd name="connsiteY189" fmla="*/ 1668278 h 3657590"/>
                <a:gd name="connsiteX190" fmla="*/ 806080 w 1298190"/>
                <a:gd name="connsiteY190" fmla="*/ 1667935 h 3657590"/>
                <a:gd name="connsiteX191" fmla="*/ 808303 w 1298190"/>
                <a:gd name="connsiteY191" fmla="*/ 1666881 h 3657590"/>
                <a:gd name="connsiteX192" fmla="*/ 810640 w 1298190"/>
                <a:gd name="connsiteY192" fmla="*/ 1666055 h 3657590"/>
                <a:gd name="connsiteX193" fmla="*/ 813078 w 1298190"/>
                <a:gd name="connsiteY193" fmla="*/ 1665446 h 3657590"/>
                <a:gd name="connsiteX194" fmla="*/ 815631 w 1298190"/>
                <a:gd name="connsiteY194" fmla="*/ 1665065 h 3657590"/>
                <a:gd name="connsiteX195" fmla="*/ 818298 w 1298190"/>
                <a:gd name="connsiteY195" fmla="*/ 1664887 h 3657590"/>
                <a:gd name="connsiteX196" fmla="*/ 819225 w 1298190"/>
                <a:gd name="connsiteY196" fmla="*/ 1664874 h 3657590"/>
                <a:gd name="connsiteX197" fmla="*/ 821079 w 1298190"/>
                <a:gd name="connsiteY197" fmla="*/ 1664912 h 3657590"/>
                <a:gd name="connsiteX198" fmla="*/ 823987 w 1298190"/>
                <a:gd name="connsiteY198" fmla="*/ 1665166 h 3657590"/>
                <a:gd name="connsiteX199" fmla="*/ 827010 w 1298190"/>
                <a:gd name="connsiteY199" fmla="*/ 1665623 h 3657590"/>
                <a:gd name="connsiteX200" fmla="*/ 830160 w 1298190"/>
                <a:gd name="connsiteY200" fmla="*/ 1666309 h 3657590"/>
                <a:gd name="connsiteX201" fmla="*/ 833436 w 1298190"/>
                <a:gd name="connsiteY201" fmla="*/ 1667211 h 3657590"/>
                <a:gd name="connsiteX202" fmla="*/ 836840 w 1298190"/>
                <a:gd name="connsiteY202" fmla="*/ 1668341 h 3657590"/>
                <a:gd name="connsiteX203" fmla="*/ 840396 w 1298190"/>
                <a:gd name="connsiteY203" fmla="*/ 1669700 h 3657590"/>
                <a:gd name="connsiteX204" fmla="*/ 844091 w 1298190"/>
                <a:gd name="connsiteY204" fmla="*/ 1671326 h 3657590"/>
                <a:gd name="connsiteX205" fmla="*/ 847965 w 1298190"/>
                <a:gd name="connsiteY205" fmla="*/ 1673205 h 3657590"/>
                <a:gd name="connsiteX206" fmla="*/ 852016 w 1298190"/>
                <a:gd name="connsiteY206" fmla="*/ 1675390 h 3657590"/>
                <a:gd name="connsiteX207" fmla="*/ 856245 w 1298190"/>
                <a:gd name="connsiteY207" fmla="*/ 1677866 h 3657590"/>
                <a:gd name="connsiteX208" fmla="*/ 860728 w 1298190"/>
                <a:gd name="connsiteY208" fmla="*/ 1680711 h 3657590"/>
                <a:gd name="connsiteX209" fmla="*/ 865478 w 1298190"/>
                <a:gd name="connsiteY209" fmla="*/ 1683962 h 3657590"/>
                <a:gd name="connsiteX210" fmla="*/ 870571 w 1298190"/>
                <a:gd name="connsiteY210" fmla="*/ 1687721 h 3657590"/>
                <a:gd name="connsiteX211" fmla="*/ 876108 w 1298190"/>
                <a:gd name="connsiteY211" fmla="*/ 1692103 h 3657590"/>
                <a:gd name="connsiteX212" fmla="*/ 878559 w 1298190"/>
                <a:gd name="connsiteY212" fmla="*/ 1694148 h 3657590"/>
                <a:gd name="connsiteX213" fmla="*/ 902664 w 1298190"/>
                <a:gd name="connsiteY213" fmla="*/ 1717935 h 3657590"/>
                <a:gd name="connsiteX214" fmla="*/ 903108 w 1298190"/>
                <a:gd name="connsiteY214" fmla="*/ 1770627 h 3657590"/>
                <a:gd name="connsiteX215" fmla="*/ 903108 w 1298190"/>
                <a:gd name="connsiteY215" fmla="*/ 1772100 h 3657590"/>
                <a:gd name="connsiteX216" fmla="*/ 903121 w 1298190"/>
                <a:gd name="connsiteY216" fmla="*/ 1772621 h 3657590"/>
                <a:gd name="connsiteX217" fmla="*/ 903121 w 1298190"/>
                <a:gd name="connsiteY217" fmla="*/ 1773230 h 3657590"/>
                <a:gd name="connsiteX218" fmla="*/ 903133 w 1298190"/>
                <a:gd name="connsiteY218" fmla="*/ 1773891 h 3657590"/>
                <a:gd name="connsiteX219" fmla="*/ 903133 w 1298190"/>
                <a:gd name="connsiteY219" fmla="*/ 1774627 h 3657590"/>
                <a:gd name="connsiteX220" fmla="*/ 903146 w 1298190"/>
                <a:gd name="connsiteY220" fmla="*/ 1775440 h 3657590"/>
                <a:gd name="connsiteX221" fmla="*/ 903146 w 1298190"/>
                <a:gd name="connsiteY221" fmla="*/ 1776304 h 3657590"/>
                <a:gd name="connsiteX222" fmla="*/ 903159 w 1298190"/>
                <a:gd name="connsiteY222" fmla="*/ 1777243 h 3657590"/>
                <a:gd name="connsiteX223" fmla="*/ 903159 w 1298190"/>
                <a:gd name="connsiteY223" fmla="*/ 1778247 h 3657590"/>
                <a:gd name="connsiteX224" fmla="*/ 903172 w 1298190"/>
                <a:gd name="connsiteY224" fmla="*/ 1779301 h 3657590"/>
                <a:gd name="connsiteX225" fmla="*/ 903184 w 1298190"/>
                <a:gd name="connsiteY225" fmla="*/ 1780418 h 3657590"/>
                <a:gd name="connsiteX226" fmla="*/ 903197 w 1298190"/>
                <a:gd name="connsiteY226" fmla="*/ 1781600 h 3657590"/>
                <a:gd name="connsiteX227" fmla="*/ 903197 w 1298190"/>
                <a:gd name="connsiteY227" fmla="*/ 1782819 h 3657590"/>
                <a:gd name="connsiteX228" fmla="*/ 903235 w 1298190"/>
                <a:gd name="connsiteY228" fmla="*/ 1786857 h 3657590"/>
                <a:gd name="connsiteX229" fmla="*/ 903299 w 1298190"/>
                <a:gd name="connsiteY229" fmla="*/ 1795062 h 3657590"/>
                <a:gd name="connsiteX230" fmla="*/ 903375 w 1298190"/>
                <a:gd name="connsiteY230" fmla="*/ 1803024 h 3657590"/>
                <a:gd name="connsiteX231" fmla="*/ 903438 w 1298190"/>
                <a:gd name="connsiteY231" fmla="*/ 1810759 h 3657590"/>
                <a:gd name="connsiteX232" fmla="*/ 903502 w 1298190"/>
                <a:gd name="connsiteY232" fmla="*/ 1818265 h 3657590"/>
                <a:gd name="connsiteX233" fmla="*/ 903553 w 1298190"/>
                <a:gd name="connsiteY233" fmla="*/ 1825554 h 3657590"/>
                <a:gd name="connsiteX234" fmla="*/ 903616 w 1298190"/>
                <a:gd name="connsiteY234" fmla="*/ 1832628 h 3657590"/>
                <a:gd name="connsiteX235" fmla="*/ 903629 w 1298190"/>
                <a:gd name="connsiteY235" fmla="*/ 1834558 h 3657590"/>
                <a:gd name="connsiteX236" fmla="*/ 903654 w 1298190"/>
                <a:gd name="connsiteY236" fmla="*/ 1839448 h 3657590"/>
                <a:gd name="connsiteX237" fmla="*/ 903629 w 1298190"/>
                <a:gd name="connsiteY237" fmla="*/ 1846001 h 3657590"/>
                <a:gd name="connsiteX238" fmla="*/ 903514 w 1298190"/>
                <a:gd name="connsiteY238" fmla="*/ 1852262 h 3657590"/>
                <a:gd name="connsiteX239" fmla="*/ 903311 w 1298190"/>
                <a:gd name="connsiteY239" fmla="*/ 1858231 h 3657590"/>
                <a:gd name="connsiteX240" fmla="*/ 903007 w 1298190"/>
                <a:gd name="connsiteY240" fmla="*/ 1863908 h 3657590"/>
                <a:gd name="connsiteX241" fmla="*/ 902587 w 1298190"/>
                <a:gd name="connsiteY241" fmla="*/ 1869267 h 3657590"/>
                <a:gd name="connsiteX242" fmla="*/ 902067 w 1298190"/>
                <a:gd name="connsiteY242" fmla="*/ 1874335 h 3657590"/>
                <a:gd name="connsiteX243" fmla="*/ 901419 w 1298190"/>
                <a:gd name="connsiteY243" fmla="*/ 1879084 h 3657590"/>
                <a:gd name="connsiteX244" fmla="*/ 900657 w 1298190"/>
                <a:gd name="connsiteY244" fmla="*/ 1883530 h 3657590"/>
                <a:gd name="connsiteX245" fmla="*/ 899781 w 1298190"/>
                <a:gd name="connsiteY245" fmla="*/ 1887670 h 3657590"/>
                <a:gd name="connsiteX246" fmla="*/ 898765 w 1298190"/>
                <a:gd name="connsiteY246" fmla="*/ 1891480 h 3657590"/>
                <a:gd name="connsiteX247" fmla="*/ 897622 w 1298190"/>
                <a:gd name="connsiteY247" fmla="*/ 1894959 h 3657590"/>
                <a:gd name="connsiteX248" fmla="*/ 896339 w 1298190"/>
                <a:gd name="connsiteY248" fmla="*/ 1898109 h 3657590"/>
                <a:gd name="connsiteX249" fmla="*/ 894904 w 1298190"/>
                <a:gd name="connsiteY249" fmla="*/ 1900941 h 3657590"/>
                <a:gd name="connsiteX250" fmla="*/ 893253 w 1298190"/>
                <a:gd name="connsiteY250" fmla="*/ 1903456 h 3657590"/>
                <a:gd name="connsiteX251" fmla="*/ 888490 w 1298190"/>
                <a:gd name="connsiteY251" fmla="*/ 1907863 h 3657590"/>
                <a:gd name="connsiteX252" fmla="*/ 879118 w 1298190"/>
                <a:gd name="connsiteY252" fmla="*/ 1910263 h 3657590"/>
                <a:gd name="connsiteX253" fmla="*/ 822806 w 1298190"/>
                <a:gd name="connsiteY253" fmla="*/ 1871922 h 3657590"/>
                <a:gd name="connsiteX254" fmla="*/ 819123 w 1298190"/>
                <a:gd name="connsiteY254" fmla="*/ 1867629 h 3657590"/>
                <a:gd name="connsiteX255" fmla="*/ 814437 w 1298190"/>
                <a:gd name="connsiteY255" fmla="*/ 1870779 h 3657590"/>
                <a:gd name="connsiteX256" fmla="*/ 751306 w 1298190"/>
                <a:gd name="connsiteY256" fmla="*/ 1922430 h 3657590"/>
                <a:gd name="connsiteX257" fmla="*/ 724623 w 1298190"/>
                <a:gd name="connsiteY257" fmla="*/ 1951360 h 3657590"/>
                <a:gd name="connsiteX258" fmla="*/ 720965 w 1298190"/>
                <a:gd name="connsiteY258" fmla="*/ 1955691 h 3657590"/>
                <a:gd name="connsiteX259" fmla="*/ 724851 w 1298190"/>
                <a:gd name="connsiteY259" fmla="*/ 1959806 h 3657590"/>
                <a:gd name="connsiteX260" fmla="*/ 733678 w 1298190"/>
                <a:gd name="connsiteY260" fmla="*/ 1970105 h 3657590"/>
                <a:gd name="connsiteX261" fmla="*/ 738707 w 1298190"/>
                <a:gd name="connsiteY261" fmla="*/ 1976938 h 3657590"/>
                <a:gd name="connsiteX262" fmla="*/ 742733 w 1298190"/>
                <a:gd name="connsiteY262" fmla="*/ 1983034 h 3657590"/>
                <a:gd name="connsiteX263" fmla="*/ 746010 w 1298190"/>
                <a:gd name="connsiteY263" fmla="*/ 1988546 h 3657590"/>
                <a:gd name="connsiteX264" fmla="*/ 748727 w 1298190"/>
                <a:gd name="connsiteY264" fmla="*/ 1993626 h 3657590"/>
                <a:gd name="connsiteX265" fmla="*/ 750975 w 1298190"/>
                <a:gd name="connsiteY265" fmla="*/ 1998363 h 3657590"/>
                <a:gd name="connsiteX266" fmla="*/ 752829 w 1298190"/>
                <a:gd name="connsiteY266" fmla="*/ 2002795 h 3657590"/>
                <a:gd name="connsiteX267" fmla="*/ 754328 w 1298190"/>
                <a:gd name="connsiteY267" fmla="*/ 2006960 h 3657590"/>
                <a:gd name="connsiteX268" fmla="*/ 755484 w 1298190"/>
                <a:gd name="connsiteY268" fmla="*/ 2010872 h 3657590"/>
                <a:gd name="connsiteX269" fmla="*/ 756335 w 1298190"/>
                <a:gd name="connsiteY269" fmla="*/ 2014568 h 3657590"/>
                <a:gd name="connsiteX270" fmla="*/ 756868 w 1298190"/>
                <a:gd name="connsiteY270" fmla="*/ 2018035 h 3657590"/>
                <a:gd name="connsiteX271" fmla="*/ 757122 w 1298190"/>
                <a:gd name="connsiteY271" fmla="*/ 2021286 h 3657590"/>
                <a:gd name="connsiteX272" fmla="*/ 757071 w 1298190"/>
                <a:gd name="connsiteY272" fmla="*/ 2024334 h 3657590"/>
                <a:gd name="connsiteX273" fmla="*/ 756716 w 1298190"/>
                <a:gd name="connsiteY273" fmla="*/ 2027154 h 3657590"/>
                <a:gd name="connsiteX274" fmla="*/ 756055 w 1298190"/>
                <a:gd name="connsiteY274" fmla="*/ 2029770 h 3657590"/>
                <a:gd name="connsiteX275" fmla="*/ 755077 w 1298190"/>
                <a:gd name="connsiteY275" fmla="*/ 2032170 h 3657590"/>
                <a:gd name="connsiteX276" fmla="*/ 754620 w 1298190"/>
                <a:gd name="connsiteY276" fmla="*/ 2033008 h 3657590"/>
                <a:gd name="connsiteX277" fmla="*/ 753744 w 1298190"/>
                <a:gd name="connsiteY277" fmla="*/ 2034354 h 3657590"/>
                <a:gd name="connsiteX278" fmla="*/ 722731 w 1298190"/>
                <a:gd name="connsiteY278" fmla="*/ 2044667 h 3657590"/>
                <a:gd name="connsiteX279" fmla="*/ 675182 w 1298190"/>
                <a:gd name="connsiteY279" fmla="*/ 2035789 h 3657590"/>
                <a:gd name="connsiteX280" fmla="*/ 671486 w 1298190"/>
                <a:gd name="connsiteY280" fmla="*/ 2034481 h 3657590"/>
                <a:gd name="connsiteX281" fmla="*/ 669860 w 1298190"/>
                <a:gd name="connsiteY281" fmla="*/ 2033897 h 3657590"/>
                <a:gd name="connsiteX282" fmla="*/ 667359 w 1298190"/>
                <a:gd name="connsiteY282" fmla="*/ 2038977 h 3657590"/>
                <a:gd name="connsiteX283" fmla="*/ 629830 w 1298190"/>
                <a:gd name="connsiteY283" fmla="*/ 2153709 h 3657590"/>
                <a:gd name="connsiteX284" fmla="*/ 628840 w 1298190"/>
                <a:gd name="connsiteY284" fmla="*/ 2159284 h 3657590"/>
                <a:gd name="connsiteX285" fmla="*/ 634250 w 1298190"/>
                <a:gd name="connsiteY285" fmla="*/ 2160897 h 3657590"/>
                <a:gd name="connsiteX286" fmla="*/ 687780 w 1298190"/>
                <a:gd name="connsiteY286" fmla="*/ 2191275 h 3657590"/>
                <a:gd name="connsiteX287" fmla="*/ 688174 w 1298190"/>
                <a:gd name="connsiteY287" fmla="*/ 2191707 h 3657590"/>
                <a:gd name="connsiteX288" fmla="*/ 690371 w 1298190"/>
                <a:gd name="connsiteY288" fmla="*/ 2194285 h 3657590"/>
                <a:gd name="connsiteX289" fmla="*/ 692162 w 1298190"/>
                <a:gd name="connsiteY289" fmla="*/ 2196736 h 3657590"/>
                <a:gd name="connsiteX290" fmla="*/ 693622 w 1298190"/>
                <a:gd name="connsiteY290" fmla="*/ 2199073 h 3657590"/>
                <a:gd name="connsiteX291" fmla="*/ 694778 w 1298190"/>
                <a:gd name="connsiteY291" fmla="*/ 2201321 h 3657590"/>
                <a:gd name="connsiteX292" fmla="*/ 695654 w 1298190"/>
                <a:gd name="connsiteY292" fmla="*/ 2203505 h 3657590"/>
                <a:gd name="connsiteX293" fmla="*/ 696264 w 1298190"/>
                <a:gd name="connsiteY293" fmla="*/ 2205614 h 3657590"/>
                <a:gd name="connsiteX294" fmla="*/ 696607 w 1298190"/>
                <a:gd name="connsiteY294" fmla="*/ 2207684 h 3657590"/>
                <a:gd name="connsiteX295" fmla="*/ 696696 w 1298190"/>
                <a:gd name="connsiteY295" fmla="*/ 2209436 h 3657590"/>
                <a:gd name="connsiteX296" fmla="*/ 696696 w 1298190"/>
                <a:gd name="connsiteY296" fmla="*/ 2209703 h 3657590"/>
                <a:gd name="connsiteX297" fmla="*/ 696530 w 1298190"/>
                <a:gd name="connsiteY297" fmla="*/ 2211697 h 3657590"/>
                <a:gd name="connsiteX298" fmla="*/ 696111 w 1298190"/>
                <a:gd name="connsiteY298" fmla="*/ 2213665 h 3657590"/>
                <a:gd name="connsiteX299" fmla="*/ 695451 w 1298190"/>
                <a:gd name="connsiteY299" fmla="*/ 2215621 h 3657590"/>
                <a:gd name="connsiteX300" fmla="*/ 694562 w 1298190"/>
                <a:gd name="connsiteY300" fmla="*/ 2217564 h 3657590"/>
                <a:gd name="connsiteX301" fmla="*/ 693444 w 1298190"/>
                <a:gd name="connsiteY301" fmla="*/ 2219482 h 3657590"/>
                <a:gd name="connsiteX302" fmla="*/ 692111 w 1298190"/>
                <a:gd name="connsiteY302" fmla="*/ 2221387 h 3657590"/>
                <a:gd name="connsiteX303" fmla="*/ 690574 w 1298190"/>
                <a:gd name="connsiteY303" fmla="*/ 2223267 h 3657590"/>
                <a:gd name="connsiteX304" fmla="*/ 629360 w 1298190"/>
                <a:gd name="connsiteY304" fmla="*/ 2251524 h 3657590"/>
                <a:gd name="connsiteX305" fmla="*/ 627760 w 1298190"/>
                <a:gd name="connsiteY305" fmla="*/ 2251829 h 3657590"/>
                <a:gd name="connsiteX306" fmla="*/ 623798 w 1298190"/>
                <a:gd name="connsiteY306" fmla="*/ 2252565 h 3657590"/>
                <a:gd name="connsiteX307" fmla="*/ 624166 w 1298190"/>
                <a:gd name="connsiteY307" fmla="*/ 2258191 h 3657590"/>
                <a:gd name="connsiteX308" fmla="*/ 648944 w 1298190"/>
                <a:gd name="connsiteY308" fmla="*/ 2376339 h 3657590"/>
                <a:gd name="connsiteX309" fmla="*/ 650861 w 1298190"/>
                <a:gd name="connsiteY309" fmla="*/ 2381661 h 3657590"/>
                <a:gd name="connsiteX310" fmla="*/ 656373 w 1298190"/>
                <a:gd name="connsiteY310" fmla="*/ 2380352 h 3657590"/>
                <a:gd name="connsiteX311" fmla="*/ 690498 w 1298190"/>
                <a:gd name="connsiteY311" fmla="*/ 2376377 h 3657590"/>
                <a:gd name="connsiteX312" fmla="*/ 734745 w 1298190"/>
                <a:gd name="connsiteY312" fmla="*/ 2391147 h 3657590"/>
                <a:gd name="connsiteX313" fmla="*/ 717282 w 1298190"/>
                <a:gd name="connsiteY313" fmla="*/ 2441160 h 3657590"/>
                <a:gd name="connsiteX314" fmla="*/ 715898 w 1298190"/>
                <a:gd name="connsiteY314" fmla="*/ 2442824 h 3657590"/>
                <a:gd name="connsiteX315" fmla="*/ 715695 w 1298190"/>
                <a:gd name="connsiteY315" fmla="*/ 2443065 h 3657590"/>
                <a:gd name="connsiteX316" fmla="*/ 713980 w 1298190"/>
                <a:gd name="connsiteY316" fmla="*/ 2445046 h 3657590"/>
                <a:gd name="connsiteX317" fmla="*/ 712190 w 1298190"/>
                <a:gd name="connsiteY317" fmla="*/ 2447065 h 3657590"/>
                <a:gd name="connsiteX318" fmla="*/ 710437 w 1298190"/>
                <a:gd name="connsiteY318" fmla="*/ 2448958 h 3657590"/>
                <a:gd name="connsiteX319" fmla="*/ 708646 w 1298190"/>
                <a:gd name="connsiteY319" fmla="*/ 2450837 h 3657590"/>
                <a:gd name="connsiteX320" fmla="*/ 697483 w 1298190"/>
                <a:gd name="connsiteY320" fmla="*/ 2461365 h 3657590"/>
                <a:gd name="connsiteX321" fmla="*/ 697166 w 1298190"/>
                <a:gd name="connsiteY321" fmla="*/ 2461619 h 3657590"/>
                <a:gd name="connsiteX322" fmla="*/ 693190 w 1298190"/>
                <a:gd name="connsiteY322" fmla="*/ 2465023 h 3657590"/>
                <a:gd name="connsiteX323" fmla="*/ 696340 w 1298190"/>
                <a:gd name="connsiteY323" fmla="*/ 2469722 h 3657590"/>
                <a:gd name="connsiteX324" fmla="*/ 776921 w 1298190"/>
                <a:gd name="connsiteY324" fmla="*/ 2559523 h 3657590"/>
                <a:gd name="connsiteX325" fmla="*/ 781252 w 1298190"/>
                <a:gd name="connsiteY325" fmla="*/ 2563168 h 3657590"/>
                <a:gd name="connsiteX326" fmla="*/ 785367 w 1298190"/>
                <a:gd name="connsiteY326" fmla="*/ 2559295 h 3657590"/>
                <a:gd name="connsiteX327" fmla="*/ 847863 w 1298190"/>
                <a:gd name="connsiteY327" fmla="*/ 2526999 h 3657590"/>
                <a:gd name="connsiteX328" fmla="*/ 858557 w 1298190"/>
                <a:gd name="connsiteY328" fmla="*/ 2529514 h 3657590"/>
                <a:gd name="connsiteX329" fmla="*/ 861325 w 1298190"/>
                <a:gd name="connsiteY329" fmla="*/ 2608990 h 3657590"/>
                <a:gd name="connsiteX330" fmla="*/ 859433 w 1298190"/>
                <a:gd name="connsiteY330" fmla="*/ 2614311 h 3657590"/>
                <a:gd name="connsiteX331" fmla="*/ 864500 w 1298190"/>
                <a:gd name="connsiteY331" fmla="*/ 2616813 h 3657590"/>
                <a:gd name="connsiteX332" fmla="*/ 979270 w 1298190"/>
                <a:gd name="connsiteY332" fmla="*/ 2654329 h 3657590"/>
                <a:gd name="connsiteX333" fmla="*/ 984845 w 1298190"/>
                <a:gd name="connsiteY333" fmla="*/ 2655319 h 3657590"/>
                <a:gd name="connsiteX334" fmla="*/ 986090 w 1298190"/>
                <a:gd name="connsiteY334" fmla="*/ 2651128 h 3657590"/>
                <a:gd name="connsiteX335" fmla="*/ 986458 w 1298190"/>
                <a:gd name="connsiteY335" fmla="*/ 2649896 h 3657590"/>
                <a:gd name="connsiteX336" fmla="*/ 1017078 w 1298190"/>
                <a:gd name="connsiteY336" fmla="*/ 2596125 h 3657590"/>
                <a:gd name="connsiteX337" fmla="*/ 1018957 w 1298190"/>
                <a:gd name="connsiteY337" fmla="*/ 2594487 h 3657590"/>
                <a:gd name="connsiteX338" fmla="*/ 1020837 w 1298190"/>
                <a:gd name="connsiteY338" fmla="*/ 2593013 h 3657590"/>
                <a:gd name="connsiteX339" fmla="*/ 1022704 w 1298190"/>
                <a:gd name="connsiteY339" fmla="*/ 2591693 h 3657590"/>
                <a:gd name="connsiteX340" fmla="*/ 1024583 w 1298190"/>
                <a:gd name="connsiteY340" fmla="*/ 2590537 h 3657590"/>
                <a:gd name="connsiteX341" fmla="*/ 1026450 w 1298190"/>
                <a:gd name="connsiteY341" fmla="*/ 2589559 h 3657590"/>
                <a:gd name="connsiteX342" fmla="*/ 1028330 w 1298190"/>
                <a:gd name="connsiteY342" fmla="*/ 2588746 h 3657590"/>
                <a:gd name="connsiteX343" fmla="*/ 1030209 w 1298190"/>
                <a:gd name="connsiteY343" fmla="*/ 2588124 h 3657590"/>
                <a:gd name="connsiteX344" fmla="*/ 1032102 w 1298190"/>
                <a:gd name="connsiteY344" fmla="*/ 2587692 h 3657590"/>
                <a:gd name="connsiteX345" fmla="*/ 1033994 w 1298190"/>
                <a:gd name="connsiteY345" fmla="*/ 2587463 h 3657590"/>
                <a:gd name="connsiteX346" fmla="*/ 1034972 w 1298190"/>
                <a:gd name="connsiteY346" fmla="*/ 2587438 h 3657590"/>
                <a:gd name="connsiteX347" fmla="*/ 1035899 w 1298190"/>
                <a:gd name="connsiteY347" fmla="*/ 2587463 h 3657590"/>
                <a:gd name="connsiteX348" fmla="*/ 1037829 w 1298190"/>
                <a:gd name="connsiteY348" fmla="*/ 2587705 h 3657590"/>
                <a:gd name="connsiteX349" fmla="*/ 1039798 w 1298190"/>
                <a:gd name="connsiteY349" fmla="*/ 2588200 h 3657590"/>
                <a:gd name="connsiteX350" fmla="*/ 1041804 w 1298190"/>
                <a:gd name="connsiteY350" fmla="*/ 2588962 h 3657590"/>
                <a:gd name="connsiteX351" fmla="*/ 1043887 w 1298190"/>
                <a:gd name="connsiteY351" fmla="*/ 2590004 h 3657590"/>
                <a:gd name="connsiteX352" fmla="*/ 1046046 w 1298190"/>
                <a:gd name="connsiteY352" fmla="*/ 2591388 h 3657590"/>
                <a:gd name="connsiteX353" fmla="*/ 1077085 w 1298190"/>
                <a:gd name="connsiteY353" fmla="*/ 2654811 h 3657590"/>
                <a:gd name="connsiteX354" fmla="*/ 1078126 w 1298190"/>
                <a:gd name="connsiteY354" fmla="*/ 2660361 h 3657590"/>
                <a:gd name="connsiteX355" fmla="*/ 1083752 w 1298190"/>
                <a:gd name="connsiteY355" fmla="*/ 2659993 h 3657590"/>
                <a:gd name="connsiteX356" fmla="*/ 1201900 w 1298190"/>
                <a:gd name="connsiteY356" fmla="*/ 2635253 h 3657590"/>
                <a:gd name="connsiteX357" fmla="*/ 1207222 w 1298190"/>
                <a:gd name="connsiteY357" fmla="*/ 2633323 h 3657590"/>
                <a:gd name="connsiteX358" fmla="*/ 1206701 w 1298190"/>
                <a:gd name="connsiteY358" fmla="*/ 2631113 h 3657590"/>
                <a:gd name="connsiteX359" fmla="*/ 1205913 w 1298190"/>
                <a:gd name="connsiteY359" fmla="*/ 2627811 h 3657590"/>
                <a:gd name="connsiteX360" fmla="*/ 1215045 w 1298190"/>
                <a:gd name="connsiteY360" fmla="*/ 2550507 h 3657590"/>
                <a:gd name="connsiteX361" fmla="*/ 1216709 w 1298190"/>
                <a:gd name="connsiteY361" fmla="*/ 2549414 h 3657590"/>
                <a:gd name="connsiteX362" fmla="*/ 1217127 w 1298190"/>
                <a:gd name="connsiteY362" fmla="*/ 2549173 h 3657590"/>
                <a:gd name="connsiteX363" fmla="*/ 1219350 w 1298190"/>
                <a:gd name="connsiteY363" fmla="*/ 2548195 h 3657590"/>
                <a:gd name="connsiteX364" fmla="*/ 1221738 w 1298190"/>
                <a:gd name="connsiteY364" fmla="*/ 2547560 h 3657590"/>
                <a:gd name="connsiteX365" fmla="*/ 1224290 w 1298190"/>
                <a:gd name="connsiteY365" fmla="*/ 2547230 h 3657590"/>
                <a:gd name="connsiteX366" fmla="*/ 1225827 w 1298190"/>
                <a:gd name="connsiteY366" fmla="*/ 2547179 h 3657590"/>
                <a:gd name="connsiteX367" fmla="*/ 1227008 w 1298190"/>
                <a:gd name="connsiteY367" fmla="*/ 2547204 h 3657590"/>
                <a:gd name="connsiteX368" fmla="*/ 1229891 w 1298190"/>
                <a:gd name="connsiteY368" fmla="*/ 2547484 h 3657590"/>
                <a:gd name="connsiteX369" fmla="*/ 1232952 w 1298190"/>
                <a:gd name="connsiteY369" fmla="*/ 2548068 h 3657590"/>
                <a:gd name="connsiteX370" fmla="*/ 1236177 w 1298190"/>
                <a:gd name="connsiteY370" fmla="*/ 2548957 h 3657590"/>
                <a:gd name="connsiteX371" fmla="*/ 1239606 w 1298190"/>
                <a:gd name="connsiteY371" fmla="*/ 2550164 h 3657590"/>
                <a:gd name="connsiteX372" fmla="*/ 1243213 w 1298190"/>
                <a:gd name="connsiteY372" fmla="*/ 2551700 h 3657590"/>
                <a:gd name="connsiteX373" fmla="*/ 1247061 w 1298190"/>
                <a:gd name="connsiteY373" fmla="*/ 2553593 h 3657590"/>
                <a:gd name="connsiteX374" fmla="*/ 1251151 w 1298190"/>
                <a:gd name="connsiteY374" fmla="*/ 2555891 h 3657590"/>
                <a:gd name="connsiteX375" fmla="*/ 1255520 w 1298190"/>
                <a:gd name="connsiteY375" fmla="*/ 2558635 h 3657590"/>
                <a:gd name="connsiteX376" fmla="*/ 1260282 w 1298190"/>
                <a:gd name="connsiteY376" fmla="*/ 2561937 h 3657590"/>
                <a:gd name="connsiteX377" fmla="*/ 1265540 w 1298190"/>
                <a:gd name="connsiteY377" fmla="*/ 2565962 h 3657590"/>
                <a:gd name="connsiteX378" fmla="*/ 1270163 w 1298190"/>
                <a:gd name="connsiteY378" fmla="*/ 2569836 h 3657590"/>
                <a:gd name="connsiteX379" fmla="*/ 1285364 w 1298190"/>
                <a:gd name="connsiteY379" fmla="*/ 2584949 h 3657590"/>
                <a:gd name="connsiteX380" fmla="*/ 1285364 w 1298190"/>
                <a:gd name="connsiteY380" fmla="*/ 3657639 h 3657590"/>
                <a:gd name="connsiteX381" fmla="*/ 1298064 w 1298190"/>
                <a:gd name="connsiteY381" fmla="*/ 3657639 h 3657590"/>
                <a:gd name="connsiteX382" fmla="*/ 1298064 w 1298190"/>
                <a:gd name="connsiteY382" fmla="*/ 2580237 h 3657590"/>
                <a:gd name="connsiteX383" fmla="*/ 1296540 w 1298190"/>
                <a:gd name="connsiteY383" fmla="*/ 2578459 h 3657590"/>
                <a:gd name="connsiteX384" fmla="*/ 1225878 w 1298190"/>
                <a:gd name="connsiteY384" fmla="*/ 2534403 h 3657590"/>
                <a:gd name="connsiteX385" fmla="*/ 1210359 w 1298190"/>
                <a:gd name="connsiteY385" fmla="*/ 2538404 h 3657590"/>
                <a:gd name="connsiteX386" fmla="*/ 1206041 w 1298190"/>
                <a:gd name="connsiteY386" fmla="*/ 2541451 h 3657590"/>
                <a:gd name="connsiteX387" fmla="*/ 1203056 w 1298190"/>
                <a:gd name="connsiteY387" fmla="*/ 2544309 h 3657590"/>
                <a:gd name="connsiteX388" fmla="*/ 1200122 w 1298190"/>
                <a:gd name="connsiteY388" fmla="*/ 2547979 h 3657590"/>
                <a:gd name="connsiteX389" fmla="*/ 1197887 w 1298190"/>
                <a:gd name="connsiteY389" fmla="*/ 2551561 h 3657590"/>
                <a:gd name="connsiteX390" fmla="*/ 1196096 w 1298190"/>
                <a:gd name="connsiteY390" fmla="*/ 2555079 h 3657590"/>
                <a:gd name="connsiteX391" fmla="*/ 1194649 w 1298190"/>
                <a:gd name="connsiteY391" fmla="*/ 2558546 h 3657590"/>
                <a:gd name="connsiteX392" fmla="*/ 1193455 w 1298190"/>
                <a:gd name="connsiteY392" fmla="*/ 2561962 h 3657590"/>
                <a:gd name="connsiteX393" fmla="*/ 1192477 w 1298190"/>
                <a:gd name="connsiteY393" fmla="*/ 2565327 h 3657590"/>
                <a:gd name="connsiteX394" fmla="*/ 1191677 w 1298190"/>
                <a:gd name="connsiteY394" fmla="*/ 2568667 h 3657590"/>
                <a:gd name="connsiteX395" fmla="*/ 1191016 w 1298190"/>
                <a:gd name="connsiteY395" fmla="*/ 2571944 h 3657590"/>
                <a:gd name="connsiteX396" fmla="*/ 1190496 w 1298190"/>
                <a:gd name="connsiteY396" fmla="*/ 2575183 h 3657590"/>
                <a:gd name="connsiteX397" fmla="*/ 1190077 w 1298190"/>
                <a:gd name="connsiteY397" fmla="*/ 2578370 h 3657590"/>
                <a:gd name="connsiteX398" fmla="*/ 1189746 w 1298190"/>
                <a:gd name="connsiteY398" fmla="*/ 2581520 h 3657590"/>
                <a:gd name="connsiteX399" fmla="*/ 1189518 w 1298190"/>
                <a:gd name="connsiteY399" fmla="*/ 2584631 h 3657590"/>
                <a:gd name="connsiteX400" fmla="*/ 1189353 w 1298190"/>
                <a:gd name="connsiteY400" fmla="*/ 2587679 h 3657590"/>
                <a:gd name="connsiteX401" fmla="*/ 1189264 w 1298190"/>
                <a:gd name="connsiteY401" fmla="*/ 2590689 h 3657590"/>
                <a:gd name="connsiteX402" fmla="*/ 1189238 w 1298190"/>
                <a:gd name="connsiteY402" fmla="*/ 2593648 h 3657590"/>
                <a:gd name="connsiteX403" fmla="*/ 1189277 w 1298190"/>
                <a:gd name="connsiteY403" fmla="*/ 2596569 h 3657590"/>
                <a:gd name="connsiteX404" fmla="*/ 1189365 w 1298190"/>
                <a:gd name="connsiteY404" fmla="*/ 2599427 h 3657590"/>
                <a:gd name="connsiteX405" fmla="*/ 1189492 w 1298190"/>
                <a:gd name="connsiteY405" fmla="*/ 2602234 h 3657590"/>
                <a:gd name="connsiteX406" fmla="*/ 1189670 w 1298190"/>
                <a:gd name="connsiteY406" fmla="*/ 2605002 h 3657590"/>
                <a:gd name="connsiteX407" fmla="*/ 1189886 w 1298190"/>
                <a:gd name="connsiteY407" fmla="*/ 2607707 h 3657590"/>
                <a:gd name="connsiteX408" fmla="*/ 1190140 w 1298190"/>
                <a:gd name="connsiteY408" fmla="*/ 2610374 h 3657590"/>
                <a:gd name="connsiteX409" fmla="*/ 1190432 w 1298190"/>
                <a:gd name="connsiteY409" fmla="*/ 2612978 h 3657590"/>
                <a:gd name="connsiteX410" fmla="*/ 1190762 w 1298190"/>
                <a:gd name="connsiteY410" fmla="*/ 2615518 h 3657590"/>
                <a:gd name="connsiteX411" fmla="*/ 1191118 w 1298190"/>
                <a:gd name="connsiteY411" fmla="*/ 2618007 h 3657590"/>
                <a:gd name="connsiteX412" fmla="*/ 1191499 w 1298190"/>
                <a:gd name="connsiteY412" fmla="*/ 2620458 h 3657590"/>
                <a:gd name="connsiteX413" fmla="*/ 1191905 w 1298190"/>
                <a:gd name="connsiteY413" fmla="*/ 2622846 h 3657590"/>
                <a:gd name="connsiteX414" fmla="*/ 1192350 w 1298190"/>
                <a:gd name="connsiteY414" fmla="*/ 2625157 h 3657590"/>
                <a:gd name="connsiteX415" fmla="*/ 1088426 w 1298190"/>
                <a:gd name="connsiteY415" fmla="*/ 2646912 h 3657590"/>
                <a:gd name="connsiteX416" fmla="*/ 1034972 w 1298190"/>
                <a:gd name="connsiteY416" fmla="*/ 2574738 h 3657590"/>
                <a:gd name="connsiteX417" fmla="*/ 1008099 w 1298190"/>
                <a:gd name="connsiteY417" fmla="*/ 2587121 h 3657590"/>
                <a:gd name="connsiteX418" fmla="*/ 1006930 w 1298190"/>
                <a:gd name="connsiteY418" fmla="*/ 2588226 h 3657590"/>
                <a:gd name="connsiteX419" fmla="*/ 1003298 w 1298190"/>
                <a:gd name="connsiteY419" fmla="*/ 2592010 h 3657590"/>
                <a:gd name="connsiteX420" fmla="*/ 1000009 w 1298190"/>
                <a:gd name="connsiteY420" fmla="*/ 2595871 h 3657590"/>
                <a:gd name="connsiteX421" fmla="*/ 996986 w 1298190"/>
                <a:gd name="connsiteY421" fmla="*/ 2599795 h 3657590"/>
                <a:gd name="connsiteX422" fmla="*/ 994192 w 1298190"/>
                <a:gd name="connsiteY422" fmla="*/ 2603770 h 3657590"/>
                <a:gd name="connsiteX423" fmla="*/ 991601 w 1298190"/>
                <a:gd name="connsiteY423" fmla="*/ 2607796 h 3657590"/>
                <a:gd name="connsiteX424" fmla="*/ 989176 w 1298190"/>
                <a:gd name="connsiteY424" fmla="*/ 2611847 h 3657590"/>
                <a:gd name="connsiteX425" fmla="*/ 986903 w 1298190"/>
                <a:gd name="connsiteY425" fmla="*/ 2615924 h 3657590"/>
                <a:gd name="connsiteX426" fmla="*/ 984782 w 1298190"/>
                <a:gd name="connsiteY426" fmla="*/ 2620026 h 3657590"/>
                <a:gd name="connsiteX427" fmla="*/ 982775 w 1298190"/>
                <a:gd name="connsiteY427" fmla="*/ 2624154 h 3657590"/>
                <a:gd name="connsiteX428" fmla="*/ 980908 w 1298190"/>
                <a:gd name="connsiteY428" fmla="*/ 2628307 h 3657590"/>
                <a:gd name="connsiteX429" fmla="*/ 979168 w 1298190"/>
                <a:gd name="connsiteY429" fmla="*/ 2632459 h 3657590"/>
                <a:gd name="connsiteX430" fmla="*/ 977530 w 1298190"/>
                <a:gd name="connsiteY430" fmla="*/ 2636650 h 3657590"/>
                <a:gd name="connsiteX431" fmla="*/ 976031 w 1298190"/>
                <a:gd name="connsiteY431" fmla="*/ 2640829 h 3657590"/>
                <a:gd name="connsiteX432" fmla="*/ 875092 w 1298190"/>
                <a:gd name="connsiteY432" fmla="*/ 2607822 h 3657590"/>
                <a:gd name="connsiteX433" fmla="*/ 864907 w 1298190"/>
                <a:gd name="connsiteY433" fmla="*/ 2518515 h 3657590"/>
                <a:gd name="connsiteX434" fmla="*/ 847876 w 1298190"/>
                <a:gd name="connsiteY434" fmla="*/ 2514299 h 3657590"/>
                <a:gd name="connsiteX435" fmla="*/ 780884 w 1298190"/>
                <a:gd name="connsiteY435" fmla="*/ 2546214 h 3657590"/>
                <a:gd name="connsiteX436" fmla="*/ 709992 w 1298190"/>
                <a:gd name="connsiteY436" fmla="*/ 2467220 h 3657590"/>
                <a:gd name="connsiteX437" fmla="*/ 713815 w 1298190"/>
                <a:gd name="connsiteY437" fmla="*/ 2463575 h 3657590"/>
                <a:gd name="connsiteX438" fmla="*/ 716952 w 1298190"/>
                <a:gd name="connsiteY438" fmla="*/ 2460426 h 3657590"/>
                <a:gd name="connsiteX439" fmla="*/ 745755 w 1298190"/>
                <a:gd name="connsiteY439" fmla="*/ 2384797 h 3657590"/>
                <a:gd name="connsiteX440" fmla="*/ 690752 w 1298190"/>
                <a:gd name="connsiteY440" fmla="*/ 2363690 h 3657590"/>
                <a:gd name="connsiteX441" fmla="*/ 659027 w 1298190"/>
                <a:gd name="connsiteY441" fmla="*/ 2366789 h 3657590"/>
                <a:gd name="connsiteX442" fmla="*/ 637247 w 1298190"/>
                <a:gd name="connsiteY442" fmla="*/ 2262878 h 3657590"/>
                <a:gd name="connsiteX443" fmla="*/ 641235 w 1298190"/>
                <a:gd name="connsiteY443" fmla="*/ 2261925 h 3657590"/>
                <a:gd name="connsiteX444" fmla="*/ 645235 w 1298190"/>
                <a:gd name="connsiteY444" fmla="*/ 2260884 h 3657590"/>
                <a:gd name="connsiteX445" fmla="*/ 649223 w 1298190"/>
                <a:gd name="connsiteY445" fmla="*/ 2259728 h 3657590"/>
                <a:gd name="connsiteX446" fmla="*/ 653236 w 1298190"/>
                <a:gd name="connsiteY446" fmla="*/ 2258484 h 3657590"/>
                <a:gd name="connsiteX447" fmla="*/ 657249 w 1298190"/>
                <a:gd name="connsiteY447" fmla="*/ 2257137 h 3657590"/>
                <a:gd name="connsiteX448" fmla="*/ 661263 w 1298190"/>
                <a:gd name="connsiteY448" fmla="*/ 2255677 h 3657590"/>
                <a:gd name="connsiteX449" fmla="*/ 665276 w 1298190"/>
                <a:gd name="connsiteY449" fmla="*/ 2254102 h 3657590"/>
                <a:gd name="connsiteX450" fmla="*/ 669289 w 1298190"/>
                <a:gd name="connsiteY450" fmla="*/ 2252413 h 3657590"/>
                <a:gd name="connsiteX451" fmla="*/ 673290 w 1298190"/>
                <a:gd name="connsiteY451" fmla="*/ 2250571 h 3657590"/>
                <a:gd name="connsiteX452" fmla="*/ 677265 w 1298190"/>
                <a:gd name="connsiteY452" fmla="*/ 2248590 h 3657590"/>
                <a:gd name="connsiteX453" fmla="*/ 681240 w 1298190"/>
                <a:gd name="connsiteY453" fmla="*/ 2246419 h 3657590"/>
                <a:gd name="connsiteX454" fmla="*/ 685202 w 1298190"/>
                <a:gd name="connsiteY454" fmla="*/ 2244044 h 3657590"/>
                <a:gd name="connsiteX455" fmla="*/ 689114 w 1298190"/>
                <a:gd name="connsiteY455" fmla="*/ 2241427 h 3657590"/>
                <a:gd name="connsiteX456" fmla="*/ 692987 w 1298190"/>
                <a:gd name="connsiteY456" fmla="*/ 2238494 h 3657590"/>
                <a:gd name="connsiteX457" fmla="*/ 696797 w 1298190"/>
                <a:gd name="connsiteY457" fmla="*/ 2235166 h 3657590"/>
                <a:gd name="connsiteX458" fmla="*/ 699731 w 1298190"/>
                <a:gd name="connsiteY458" fmla="*/ 2232169 h 3657590"/>
                <a:gd name="connsiteX459" fmla="*/ 709396 w 1298190"/>
                <a:gd name="connsiteY459" fmla="*/ 2209436 h 3657590"/>
                <a:gd name="connsiteX460" fmla="*/ 643318 w 1298190"/>
                <a:gd name="connsiteY460" fmla="*/ 2150470 h 3657590"/>
                <a:gd name="connsiteX461" fmla="*/ 676350 w 1298190"/>
                <a:gd name="connsiteY461" fmla="*/ 2049556 h 3657590"/>
                <a:gd name="connsiteX462" fmla="*/ 678077 w 1298190"/>
                <a:gd name="connsiteY462" fmla="*/ 2050090 h 3657590"/>
                <a:gd name="connsiteX463" fmla="*/ 679894 w 1298190"/>
                <a:gd name="connsiteY463" fmla="*/ 2050623 h 3657590"/>
                <a:gd name="connsiteX464" fmla="*/ 681748 w 1298190"/>
                <a:gd name="connsiteY464" fmla="*/ 2051156 h 3657590"/>
                <a:gd name="connsiteX465" fmla="*/ 683665 w 1298190"/>
                <a:gd name="connsiteY465" fmla="*/ 2051677 h 3657590"/>
                <a:gd name="connsiteX466" fmla="*/ 685659 w 1298190"/>
                <a:gd name="connsiteY466" fmla="*/ 2052185 h 3657590"/>
                <a:gd name="connsiteX467" fmla="*/ 687691 w 1298190"/>
                <a:gd name="connsiteY467" fmla="*/ 2052693 h 3657590"/>
                <a:gd name="connsiteX468" fmla="*/ 689787 w 1298190"/>
                <a:gd name="connsiteY468" fmla="*/ 2053188 h 3657590"/>
                <a:gd name="connsiteX469" fmla="*/ 691946 w 1298190"/>
                <a:gd name="connsiteY469" fmla="*/ 2053671 h 3657590"/>
                <a:gd name="connsiteX470" fmla="*/ 694156 w 1298190"/>
                <a:gd name="connsiteY470" fmla="*/ 2054141 h 3657590"/>
                <a:gd name="connsiteX471" fmla="*/ 696429 w 1298190"/>
                <a:gd name="connsiteY471" fmla="*/ 2054585 h 3657590"/>
                <a:gd name="connsiteX472" fmla="*/ 698753 w 1298190"/>
                <a:gd name="connsiteY472" fmla="*/ 2055017 h 3657590"/>
                <a:gd name="connsiteX473" fmla="*/ 701140 w 1298190"/>
                <a:gd name="connsiteY473" fmla="*/ 2055424 h 3657590"/>
                <a:gd name="connsiteX474" fmla="*/ 703592 w 1298190"/>
                <a:gd name="connsiteY474" fmla="*/ 2055805 h 3657590"/>
                <a:gd name="connsiteX475" fmla="*/ 706081 w 1298190"/>
                <a:gd name="connsiteY475" fmla="*/ 2056147 h 3657590"/>
                <a:gd name="connsiteX476" fmla="*/ 708646 w 1298190"/>
                <a:gd name="connsiteY476" fmla="*/ 2056465 h 3657590"/>
                <a:gd name="connsiteX477" fmla="*/ 711250 w 1298190"/>
                <a:gd name="connsiteY477" fmla="*/ 2056732 h 3657590"/>
                <a:gd name="connsiteX478" fmla="*/ 713917 w 1298190"/>
                <a:gd name="connsiteY478" fmla="*/ 2056960 h 3657590"/>
                <a:gd name="connsiteX479" fmla="*/ 716634 w 1298190"/>
                <a:gd name="connsiteY479" fmla="*/ 2057151 h 3657590"/>
                <a:gd name="connsiteX480" fmla="*/ 719416 w 1298190"/>
                <a:gd name="connsiteY480" fmla="*/ 2057265 h 3657590"/>
                <a:gd name="connsiteX481" fmla="*/ 722248 w 1298190"/>
                <a:gd name="connsiteY481" fmla="*/ 2057329 h 3657590"/>
                <a:gd name="connsiteX482" fmla="*/ 723188 w 1298190"/>
                <a:gd name="connsiteY482" fmla="*/ 2057329 h 3657590"/>
                <a:gd name="connsiteX483" fmla="*/ 725131 w 1298190"/>
                <a:gd name="connsiteY483" fmla="*/ 2057316 h 3657590"/>
                <a:gd name="connsiteX484" fmla="*/ 728077 w 1298190"/>
                <a:gd name="connsiteY484" fmla="*/ 2057214 h 3657590"/>
                <a:gd name="connsiteX485" fmla="*/ 731062 w 1298190"/>
                <a:gd name="connsiteY485" fmla="*/ 2057024 h 3657590"/>
                <a:gd name="connsiteX486" fmla="*/ 734122 w 1298190"/>
                <a:gd name="connsiteY486" fmla="*/ 2056719 h 3657590"/>
                <a:gd name="connsiteX487" fmla="*/ 737221 w 1298190"/>
                <a:gd name="connsiteY487" fmla="*/ 2056287 h 3657590"/>
                <a:gd name="connsiteX488" fmla="*/ 745197 w 1298190"/>
                <a:gd name="connsiteY488" fmla="*/ 2054446 h 3657590"/>
                <a:gd name="connsiteX489" fmla="*/ 751902 w 1298190"/>
                <a:gd name="connsiteY489" fmla="*/ 2051817 h 3657590"/>
                <a:gd name="connsiteX490" fmla="*/ 757160 w 1298190"/>
                <a:gd name="connsiteY490" fmla="*/ 2048680 h 3657590"/>
                <a:gd name="connsiteX491" fmla="*/ 761300 w 1298190"/>
                <a:gd name="connsiteY491" fmla="*/ 2045086 h 3657590"/>
                <a:gd name="connsiteX492" fmla="*/ 762710 w 1298190"/>
                <a:gd name="connsiteY492" fmla="*/ 2043524 h 3657590"/>
                <a:gd name="connsiteX493" fmla="*/ 765618 w 1298190"/>
                <a:gd name="connsiteY493" fmla="*/ 2039358 h 3657590"/>
                <a:gd name="connsiteX494" fmla="*/ 737920 w 1298190"/>
                <a:gd name="connsiteY494" fmla="*/ 1955322 h 3657590"/>
                <a:gd name="connsiteX495" fmla="*/ 760576 w 1298190"/>
                <a:gd name="connsiteY495" fmla="*/ 1931116 h 3657590"/>
                <a:gd name="connsiteX496" fmla="*/ 762456 w 1298190"/>
                <a:gd name="connsiteY496" fmla="*/ 1929287 h 3657590"/>
                <a:gd name="connsiteX497" fmla="*/ 764348 w 1298190"/>
                <a:gd name="connsiteY497" fmla="*/ 1927446 h 3657590"/>
                <a:gd name="connsiteX498" fmla="*/ 766253 w 1298190"/>
                <a:gd name="connsiteY498" fmla="*/ 1925617 h 3657590"/>
                <a:gd name="connsiteX499" fmla="*/ 768196 w 1298190"/>
                <a:gd name="connsiteY499" fmla="*/ 1923788 h 3657590"/>
                <a:gd name="connsiteX500" fmla="*/ 770114 w 1298190"/>
                <a:gd name="connsiteY500" fmla="*/ 1921998 h 3657590"/>
                <a:gd name="connsiteX501" fmla="*/ 772070 w 1298190"/>
                <a:gd name="connsiteY501" fmla="*/ 1920194 h 3657590"/>
                <a:gd name="connsiteX502" fmla="*/ 774051 w 1298190"/>
                <a:gd name="connsiteY502" fmla="*/ 1918391 h 3657590"/>
                <a:gd name="connsiteX503" fmla="*/ 776020 w 1298190"/>
                <a:gd name="connsiteY503" fmla="*/ 1916638 h 3657590"/>
                <a:gd name="connsiteX504" fmla="*/ 778026 w 1298190"/>
                <a:gd name="connsiteY504" fmla="*/ 1914848 h 3657590"/>
                <a:gd name="connsiteX505" fmla="*/ 780007 w 1298190"/>
                <a:gd name="connsiteY505" fmla="*/ 1913121 h 3657590"/>
                <a:gd name="connsiteX506" fmla="*/ 783106 w 1298190"/>
                <a:gd name="connsiteY506" fmla="*/ 1910453 h 3657590"/>
                <a:gd name="connsiteX507" fmla="*/ 787157 w 1298190"/>
                <a:gd name="connsiteY507" fmla="*/ 1907037 h 3657590"/>
                <a:gd name="connsiteX508" fmla="*/ 791247 w 1298190"/>
                <a:gd name="connsiteY508" fmla="*/ 1903684 h 3657590"/>
                <a:gd name="connsiteX509" fmla="*/ 795374 w 1298190"/>
                <a:gd name="connsiteY509" fmla="*/ 1900382 h 3657590"/>
                <a:gd name="connsiteX510" fmla="*/ 799553 w 1298190"/>
                <a:gd name="connsiteY510" fmla="*/ 1897131 h 3657590"/>
                <a:gd name="connsiteX511" fmla="*/ 803769 w 1298190"/>
                <a:gd name="connsiteY511" fmla="*/ 1893918 h 3657590"/>
                <a:gd name="connsiteX512" fmla="*/ 808023 w 1298190"/>
                <a:gd name="connsiteY512" fmla="*/ 1890769 h 3657590"/>
                <a:gd name="connsiteX513" fmla="*/ 812316 w 1298190"/>
                <a:gd name="connsiteY513" fmla="*/ 1887682 h 3657590"/>
                <a:gd name="connsiteX514" fmla="*/ 816659 w 1298190"/>
                <a:gd name="connsiteY514" fmla="*/ 1884635 h 3657590"/>
                <a:gd name="connsiteX515" fmla="*/ 816926 w 1298190"/>
                <a:gd name="connsiteY515" fmla="*/ 1884457 h 3657590"/>
                <a:gd name="connsiteX516" fmla="*/ 835024 w 1298190"/>
                <a:gd name="connsiteY516" fmla="*/ 1902008 h 3657590"/>
                <a:gd name="connsiteX517" fmla="*/ 844638 w 1298190"/>
                <a:gd name="connsiteY517" fmla="*/ 1909476 h 3657590"/>
                <a:gd name="connsiteX518" fmla="*/ 851864 w 1298190"/>
                <a:gd name="connsiteY518" fmla="*/ 1914162 h 3657590"/>
                <a:gd name="connsiteX519" fmla="*/ 857807 w 1298190"/>
                <a:gd name="connsiteY519" fmla="*/ 1917362 h 3657590"/>
                <a:gd name="connsiteX520" fmla="*/ 862875 w 1298190"/>
                <a:gd name="connsiteY520" fmla="*/ 1919585 h 3657590"/>
                <a:gd name="connsiteX521" fmla="*/ 867294 w 1298190"/>
                <a:gd name="connsiteY521" fmla="*/ 1921109 h 3657590"/>
                <a:gd name="connsiteX522" fmla="*/ 871168 w 1298190"/>
                <a:gd name="connsiteY522" fmla="*/ 1922099 h 3657590"/>
                <a:gd name="connsiteX523" fmla="*/ 874571 w 1298190"/>
                <a:gd name="connsiteY523" fmla="*/ 1922684 h 3657590"/>
                <a:gd name="connsiteX524" fmla="*/ 877543 w 1298190"/>
                <a:gd name="connsiteY524" fmla="*/ 1922938 h 3657590"/>
                <a:gd name="connsiteX525" fmla="*/ 879245 w 1298190"/>
                <a:gd name="connsiteY525" fmla="*/ 1922976 h 3657590"/>
                <a:gd name="connsiteX526" fmla="*/ 880058 w 1298190"/>
                <a:gd name="connsiteY526" fmla="*/ 1922976 h 3657590"/>
                <a:gd name="connsiteX527" fmla="*/ 882052 w 1298190"/>
                <a:gd name="connsiteY527" fmla="*/ 1922861 h 3657590"/>
                <a:gd name="connsiteX528" fmla="*/ 883385 w 1298190"/>
                <a:gd name="connsiteY528" fmla="*/ 1922722 h 3657590"/>
                <a:gd name="connsiteX529" fmla="*/ 883652 w 1298190"/>
                <a:gd name="connsiteY529" fmla="*/ 1922684 h 3657590"/>
                <a:gd name="connsiteX530" fmla="*/ 894840 w 1298190"/>
                <a:gd name="connsiteY530" fmla="*/ 1918861 h 3657590"/>
                <a:gd name="connsiteX531" fmla="*/ 902067 w 1298190"/>
                <a:gd name="connsiteY531" fmla="*/ 1912689 h 3657590"/>
                <a:gd name="connsiteX532" fmla="*/ 916329 w 1298190"/>
                <a:gd name="connsiteY532" fmla="*/ 1834508 h 3657590"/>
                <a:gd name="connsiteX533" fmla="*/ 915326 w 1298190"/>
                <a:gd name="connsiteY533" fmla="*/ 1713185 h 3657590"/>
                <a:gd name="connsiteX534" fmla="*/ 913814 w 1298190"/>
                <a:gd name="connsiteY534" fmla="*/ 1711432 h 3657590"/>
                <a:gd name="connsiteX535" fmla="*/ 819288 w 1298190"/>
                <a:gd name="connsiteY535" fmla="*/ 1652085 h 3657590"/>
                <a:gd name="connsiteX536" fmla="*/ 799121 w 1298190"/>
                <a:gd name="connsiteY536" fmla="*/ 1657267 h 3657590"/>
                <a:gd name="connsiteX537" fmla="*/ 792847 w 1298190"/>
                <a:gd name="connsiteY537" fmla="*/ 1661788 h 3657590"/>
                <a:gd name="connsiteX538" fmla="*/ 789608 w 1298190"/>
                <a:gd name="connsiteY538" fmla="*/ 1664976 h 3657590"/>
                <a:gd name="connsiteX539" fmla="*/ 786586 w 1298190"/>
                <a:gd name="connsiteY539" fmla="*/ 1668659 h 3657590"/>
                <a:gd name="connsiteX540" fmla="*/ 784135 w 1298190"/>
                <a:gd name="connsiteY540" fmla="*/ 1672253 h 3657590"/>
                <a:gd name="connsiteX541" fmla="*/ 782103 w 1298190"/>
                <a:gd name="connsiteY541" fmla="*/ 1675809 h 3657590"/>
                <a:gd name="connsiteX542" fmla="*/ 780388 w 1298190"/>
                <a:gd name="connsiteY542" fmla="*/ 1679314 h 3657590"/>
                <a:gd name="connsiteX543" fmla="*/ 778915 w 1298190"/>
                <a:gd name="connsiteY543" fmla="*/ 1682781 h 3657590"/>
                <a:gd name="connsiteX544" fmla="*/ 777658 w 1298190"/>
                <a:gd name="connsiteY544" fmla="*/ 1686210 h 3657590"/>
                <a:gd name="connsiteX545" fmla="*/ 776566 w 1298190"/>
                <a:gd name="connsiteY545" fmla="*/ 1689601 h 3657590"/>
                <a:gd name="connsiteX546" fmla="*/ 775626 w 1298190"/>
                <a:gd name="connsiteY546" fmla="*/ 1692966 h 3657590"/>
                <a:gd name="connsiteX547" fmla="*/ 774813 w 1298190"/>
                <a:gd name="connsiteY547" fmla="*/ 1696294 h 3657590"/>
                <a:gd name="connsiteX548" fmla="*/ 774127 w 1298190"/>
                <a:gd name="connsiteY548" fmla="*/ 1699583 h 3657590"/>
                <a:gd name="connsiteX549" fmla="*/ 773530 w 1298190"/>
                <a:gd name="connsiteY549" fmla="*/ 1702860 h 3657590"/>
                <a:gd name="connsiteX550" fmla="*/ 773022 w 1298190"/>
                <a:gd name="connsiteY550" fmla="*/ 1706086 h 3657590"/>
                <a:gd name="connsiteX551" fmla="*/ 772603 w 1298190"/>
                <a:gd name="connsiteY551" fmla="*/ 1709286 h 3657590"/>
                <a:gd name="connsiteX552" fmla="*/ 772248 w 1298190"/>
                <a:gd name="connsiteY552" fmla="*/ 1712448 h 3657590"/>
                <a:gd name="connsiteX553" fmla="*/ 771968 w 1298190"/>
                <a:gd name="connsiteY553" fmla="*/ 1715572 h 3657590"/>
                <a:gd name="connsiteX554" fmla="*/ 771752 w 1298190"/>
                <a:gd name="connsiteY554" fmla="*/ 1718671 h 3657590"/>
                <a:gd name="connsiteX555" fmla="*/ 771600 w 1298190"/>
                <a:gd name="connsiteY555" fmla="*/ 1721732 h 3657590"/>
                <a:gd name="connsiteX556" fmla="*/ 771486 w 1298190"/>
                <a:gd name="connsiteY556" fmla="*/ 1724755 h 3657590"/>
                <a:gd name="connsiteX557" fmla="*/ 771435 w 1298190"/>
                <a:gd name="connsiteY557" fmla="*/ 1727752 h 3657590"/>
                <a:gd name="connsiteX558" fmla="*/ 771422 w 1298190"/>
                <a:gd name="connsiteY558" fmla="*/ 1730711 h 3657590"/>
                <a:gd name="connsiteX559" fmla="*/ 771448 w 1298190"/>
                <a:gd name="connsiteY559" fmla="*/ 1733632 h 3657590"/>
                <a:gd name="connsiteX560" fmla="*/ 771524 w 1298190"/>
                <a:gd name="connsiteY560" fmla="*/ 1736515 h 3657590"/>
                <a:gd name="connsiteX561" fmla="*/ 771625 w 1298190"/>
                <a:gd name="connsiteY561" fmla="*/ 1739359 h 3657590"/>
                <a:gd name="connsiteX562" fmla="*/ 771765 w 1298190"/>
                <a:gd name="connsiteY562" fmla="*/ 1742179 h 3657590"/>
                <a:gd name="connsiteX563" fmla="*/ 771943 w 1298190"/>
                <a:gd name="connsiteY563" fmla="*/ 1744947 h 3657590"/>
                <a:gd name="connsiteX564" fmla="*/ 772146 w 1298190"/>
                <a:gd name="connsiteY564" fmla="*/ 1747691 h 3657590"/>
                <a:gd name="connsiteX565" fmla="*/ 772387 w 1298190"/>
                <a:gd name="connsiteY565" fmla="*/ 1750383 h 3657590"/>
                <a:gd name="connsiteX566" fmla="*/ 772641 w 1298190"/>
                <a:gd name="connsiteY566" fmla="*/ 1753050 h 3657590"/>
                <a:gd name="connsiteX567" fmla="*/ 772933 w 1298190"/>
                <a:gd name="connsiteY567" fmla="*/ 1755666 h 3657590"/>
                <a:gd name="connsiteX568" fmla="*/ 773251 w 1298190"/>
                <a:gd name="connsiteY568" fmla="*/ 1758244 h 3657590"/>
                <a:gd name="connsiteX569" fmla="*/ 773581 w 1298190"/>
                <a:gd name="connsiteY569" fmla="*/ 1760797 h 3657590"/>
                <a:gd name="connsiteX570" fmla="*/ 773949 w 1298190"/>
                <a:gd name="connsiteY570" fmla="*/ 1763299 h 3657590"/>
                <a:gd name="connsiteX571" fmla="*/ 774330 w 1298190"/>
                <a:gd name="connsiteY571" fmla="*/ 1765763 h 3657590"/>
                <a:gd name="connsiteX572" fmla="*/ 774724 w 1298190"/>
                <a:gd name="connsiteY572" fmla="*/ 1768176 h 3657590"/>
                <a:gd name="connsiteX573" fmla="*/ 775143 w 1298190"/>
                <a:gd name="connsiteY573" fmla="*/ 1770551 h 3657590"/>
                <a:gd name="connsiteX574" fmla="*/ 775588 w 1298190"/>
                <a:gd name="connsiteY574" fmla="*/ 1772900 h 3657590"/>
                <a:gd name="connsiteX575" fmla="*/ 776045 w 1298190"/>
                <a:gd name="connsiteY575" fmla="*/ 1775186 h 3657590"/>
                <a:gd name="connsiteX576" fmla="*/ 629729 w 1298190"/>
                <a:gd name="connsiteY576" fmla="*/ 1805818 h 3657590"/>
                <a:gd name="connsiteX577" fmla="*/ 558583 w 1298190"/>
                <a:gd name="connsiteY577" fmla="*/ 1707165 h 3657590"/>
                <a:gd name="connsiteX578" fmla="*/ 522833 w 1298190"/>
                <a:gd name="connsiteY578" fmla="*/ 1723954 h 3657590"/>
                <a:gd name="connsiteX579" fmla="*/ 521919 w 1298190"/>
                <a:gd name="connsiteY579" fmla="*/ 1724818 h 3657590"/>
                <a:gd name="connsiteX580" fmla="*/ 518236 w 1298190"/>
                <a:gd name="connsiteY580" fmla="*/ 1728590 h 3657590"/>
                <a:gd name="connsiteX581" fmla="*/ 514819 w 1298190"/>
                <a:gd name="connsiteY581" fmla="*/ 1732425 h 3657590"/>
                <a:gd name="connsiteX582" fmla="*/ 511644 w 1298190"/>
                <a:gd name="connsiteY582" fmla="*/ 1736312 h 3657590"/>
                <a:gd name="connsiteX583" fmla="*/ 508660 w 1298190"/>
                <a:gd name="connsiteY583" fmla="*/ 1740236 h 3657590"/>
                <a:gd name="connsiteX584" fmla="*/ 505853 w 1298190"/>
                <a:gd name="connsiteY584" fmla="*/ 1744211 h 3657590"/>
                <a:gd name="connsiteX585" fmla="*/ 503186 w 1298190"/>
                <a:gd name="connsiteY585" fmla="*/ 1748211 h 3657590"/>
                <a:gd name="connsiteX586" fmla="*/ 500659 w 1298190"/>
                <a:gd name="connsiteY586" fmla="*/ 1752237 h 3657590"/>
                <a:gd name="connsiteX587" fmla="*/ 498246 w 1298190"/>
                <a:gd name="connsiteY587" fmla="*/ 1756301 h 3657590"/>
                <a:gd name="connsiteX588" fmla="*/ 495960 w 1298190"/>
                <a:gd name="connsiteY588" fmla="*/ 1760365 h 3657590"/>
                <a:gd name="connsiteX589" fmla="*/ 493775 w 1298190"/>
                <a:gd name="connsiteY589" fmla="*/ 1764467 h 3657590"/>
                <a:gd name="connsiteX590" fmla="*/ 491693 w 1298190"/>
                <a:gd name="connsiteY590" fmla="*/ 1768569 h 3657590"/>
                <a:gd name="connsiteX591" fmla="*/ 489699 w 1298190"/>
                <a:gd name="connsiteY591" fmla="*/ 1772710 h 3657590"/>
                <a:gd name="connsiteX592" fmla="*/ 487819 w 1298190"/>
                <a:gd name="connsiteY592" fmla="*/ 1776837 h 3657590"/>
                <a:gd name="connsiteX593" fmla="*/ 486016 w 1298190"/>
                <a:gd name="connsiteY593" fmla="*/ 1780990 h 3657590"/>
                <a:gd name="connsiteX594" fmla="*/ 484301 w 1298190"/>
                <a:gd name="connsiteY594" fmla="*/ 1785156 h 3657590"/>
                <a:gd name="connsiteX595" fmla="*/ 482676 w 1298190"/>
                <a:gd name="connsiteY595" fmla="*/ 1789321 h 3657590"/>
                <a:gd name="connsiteX596" fmla="*/ 481152 w 1298190"/>
                <a:gd name="connsiteY596" fmla="*/ 1793512 h 3657590"/>
                <a:gd name="connsiteX597" fmla="*/ 479704 w 1298190"/>
                <a:gd name="connsiteY597" fmla="*/ 1797703 h 3657590"/>
                <a:gd name="connsiteX598" fmla="*/ 337578 w 1298190"/>
                <a:gd name="connsiteY598" fmla="*/ 1751221 h 3657590"/>
                <a:gd name="connsiteX599" fmla="*/ 325348 w 1298190"/>
                <a:gd name="connsiteY599" fmla="*/ 1630114 h 3657590"/>
                <a:gd name="connsiteX600" fmla="*/ 303085 w 1298190"/>
                <a:gd name="connsiteY600" fmla="*/ 1624603 h 3657590"/>
                <a:gd name="connsiteX601" fmla="*/ 211836 w 1298190"/>
                <a:gd name="connsiteY601" fmla="*/ 1668989 h 3657590"/>
                <a:gd name="connsiteX602" fmla="*/ 112014 w 1298190"/>
                <a:gd name="connsiteY602" fmla="*/ 1557763 h 3657590"/>
                <a:gd name="connsiteX603" fmla="*/ 115888 w 1298190"/>
                <a:gd name="connsiteY603" fmla="*/ 1554169 h 3657590"/>
                <a:gd name="connsiteX604" fmla="*/ 119685 w 1298190"/>
                <a:gd name="connsiteY604" fmla="*/ 1550473 h 3657590"/>
                <a:gd name="connsiteX605" fmla="*/ 122263 w 1298190"/>
                <a:gd name="connsiteY605" fmla="*/ 1547895 h 3657590"/>
                <a:gd name="connsiteX606" fmla="*/ 161862 w 1298190"/>
                <a:gd name="connsiteY606" fmla="*/ 1446778 h 3657590"/>
                <a:gd name="connsiteX607" fmla="*/ 89091 w 1298190"/>
                <a:gd name="connsiteY607" fmla="*/ 1419079 h 3657590"/>
                <a:gd name="connsiteX608" fmla="*/ 43993 w 1298190"/>
                <a:gd name="connsiteY608" fmla="*/ 1423714 h 3657590"/>
                <a:gd name="connsiteX609" fmla="*/ 13323 w 1298190"/>
                <a:gd name="connsiteY609" fmla="*/ 1277386 h 3657590"/>
                <a:gd name="connsiteX610" fmla="*/ 17285 w 1298190"/>
                <a:gd name="connsiteY610" fmla="*/ 1276497 h 3657590"/>
                <a:gd name="connsiteX611" fmla="*/ 21286 w 1298190"/>
                <a:gd name="connsiteY611" fmla="*/ 1275531 h 3657590"/>
                <a:gd name="connsiteX612" fmla="*/ 25274 w 1298190"/>
                <a:gd name="connsiteY612" fmla="*/ 1274490 h 3657590"/>
                <a:gd name="connsiteX613" fmla="*/ 29274 w 1298190"/>
                <a:gd name="connsiteY613" fmla="*/ 1273372 h 3657590"/>
                <a:gd name="connsiteX614" fmla="*/ 33275 w 1298190"/>
                <a:gd name="connsiteY614" fmla="*/ 1272191 h 3657590"/>
                <a:gd name="connsiteX615" fmla="*/ 37275 w 1298190"/>
                <a:gd name="connsiteY615" fmla="*/ 1270934 h 3657590"/>
                <a:gd name="connsiteX616" fmla="*/ 41288 w 1298190"/>
                <a:gd name="connsiteY616" fmla="*/ 1269598 h 3657590"/>
                <a:gd name="connsiteX617" fmla="*/ 45301 w 1298190"/>
                <a:gd name="connsiteY617" fmla="*/ 1268179 h 3657590"/>
                <a:gd name="connsiteX618" fmla="*/ 49315 w 1298190"/>
                <a:gd name="connsiteY618" fmla="*/ 1266682 h 3657590"/>
                <a:gd name="connsiteX619" fmla="*/ 53328 w 1298190"/>
                <a:gd name="connsiteY619" fmla="*/ 1265103 h 3657590"/>
                <a:gd name="connsiteX620" fmla="*/ 57328 w 1298190"/>
                <a:gd name="connsiteY620" fmla="*/ 1263427 h 3657590"/>
                <a:gd name="connsiteX621" fmla="*/ 61329 w 1298190"/>
                <a:gd name="connsiteY621" fmla="*/ 1261652 h 3657590"/>
                <a:gd name="connsiteX622" fmla="*/ 65329 w 1298190"/>
                <a:gd name="connsiteY622" fmla="*/ 1259755 h 3657590"/>
                <a:gd name="connsiteX623" fmla="*/ 69304 w 1298190"/>
                <a:gd name="connsiteY623" fmla="*/ 1257767 h 3657590"/>
                <a:gd name="connsiteX624" fmla="*/ 73280 w 1298190"/>
                <a:gd name="connsiteY624" fmla="*/ 1255628 h 3657590"/>
                <a:gd name="connsiteX625" fmla="*/ 77229 w 1298190"/>
                <a:gd name="connsiteY625" fmla="*/ 1253356 h 3657590"/>
                <a:gd name="connsiteX626" fmla="*/ 81179 w 1298190"/>
                <a:gd name="connsiteY626" fmla="*/ 1250906 h 3657590"/>
                <a:gd name="connsiteX627" fmla="*/ 85090 w 1298190"/>
                <a:gd name="connsiteY627" fmla="*/ 1248252 h 3657590"/>
                <a:gd name="connsiteX628" fmla="*/ 88964 w 1298190"/>
                <a:gd name="connsiteY628" fmla="*/ 1245394 h 3657590"/>
                <a:gd name="connsiteX629" fmla="*/ 92812 w 1298190"/>
                <a:gd name="connsiteY629" fmla="*/ 1242235 h 3657590"/>
                <a:gd name="connsiteX630" fmla="*/ 96597 w 1298190"/>
                <a:gd name="connsiteY630" fmla="*/ 1238742 h 3657590"/>
                <a:gd name="connsiteX631" fmla="*/ 98781 w 1298190"/>
                <a:gd name="connsiteY631" fmla="*/ 1236479 h 3657590"/>
                <a:gd name="connsiteX632" fmla="*/ 111938 w 1298190"/>
                <a:gd name="connsiteY632" fmla="*/ 1206277 h 3657590"/>
                <a:gd name="connsiteX633" fmla="*/ 21425 w 1298190"/>
                <a:gd name="connsiteY633" fmla="*/ 1127358 h 3657590"/>
                <a:gd name="connsiteX634" fmla="*/ 67920 w 1298190"/>
                <a:gd name="connsiteY634" fmla="*/ 985274 h 3657590"/>
                <a:gd name="connsiteX635" fmla="*/ 69635 w 1298190"/>
                <a:gd name="connsiteY635" fmla="*/ 985818 h 3657590"/>
                <a:gd name="connsiteX636" fmla="*/ 71387 w 1298190"/>
                <a:gd name="connsiteY636" fmla="*/ 986364 h 3657590"/>
                <a:gd name="connsiteX637" fmla="*/ 73178 w 1298190"/>
                <a:gd name="connsiteY637" fmla="*/ 986911 h 3657590"/>
                <a:gd name="connsiteX638" fmla="*/ 75032 w 1298190"/>
                <a:gd name="connsiteY638" fmla="*/ 987445 h 3657590"/>
                <a:gd name="connsiteX639" fmla="*/ 76912 w 1298190"/>
                <a:gd name="connsiteY639" fmla="*/ 987976 h 3657590"/>
                <a:gd name="connsiteX640" fmla="*/ 78842 w 1298190"/>
                <a:gd name="connsiteY640" fmla="*/ 988512 h 3657590"/>
                <a:gd name="connsiteX641" fmla="*/ 80823 w 1298190"/>
                <a:gd name="connsiteY641" fmla="*/ 989033 h 3657590"/>
                <a:gd name="connsiteX642" fmla="*/ 82830 w 1298190"/>
                <a:gd name="connsiteY642" fmla="*/ 989555 h 3657590"/>
                <a:gd name="connsiteX643" fmla="*/ 84887 w 1298190"/>
                <a:gd name="connsiteY643" fmla="*/ 990060 h 3657590"/>
                <a:gd name="connsiteX644" fmla="*/ 86995 w 1298190"/>
                <a:gd name="connsiteY644" fmla="*/ 990571 h 3657590"/>
                <a:gd name="connsiteX645" fmla="*/ 89142 w 1298190"/>
                <a:gd name="connsiteY645" fmla="*/ 991067 h 3657590"/>
                <a:gd name="connsiteX646" fmla="*/ 91326 w 1298190"/>
                <a:gd name="connsiteY646" fmla="*/ 991549 h 3657590"/>
                <a:gd name="connsiteX647" fmla="*/ 93561 w 1298190"/>
                <a:gd name="connsiteY647" fmla="*/ 992020 h 3657590"/>
                <a:gd name="connsiteX648" fmla="*/ 95822 w 1298190"/>
                <a:gd name="connsiteY648" fmla="*/ 992476 h 3657590"/>
                <a:gd name="connsiteX649" fmla="*/ 98133 w 1298190"/>
                <a:gd name="connsiteY649" fmla="*/ 992918 h 3657590"/>
                <a:gd name="connsiteX650" fmla="*/ 100495 w 1298190"/>
                <a:gd name="connsiteY650" fmla="*/ 993349 h 3657590"/>
                <a:gd name="connsiteX651" fmla="*/ 102896 w 1298190"/>
                <a:gd name="connsiteY651" fmla="*/ 993756 h 3657590"/>
                <a:gd name="connsiteX652" fmla="*/ 105334 w 1298190"/>
                <a:gd name="connsiteY652" fmla="*/ 994153 h 3657590"/>
                <a:gd name="connsiteX653" fmla="*/ 107811 w 1298190"/>
                <a:gd name="connsiteY653" fmla="*/ 994520 h 3657590"/>
                <a:gd name="connsiteX654" fmla="*/ 110325 w 1298190"/>
                <a:gd name="connsiteY654" fmla="*/ 994862 h 3657590"/>
                <a:gd name="connsiteX655" fmla="*/ 112891 w 1298190"/>
                <a:gd name="connsiteY655" fmla="*/ 995179 h 3657590"/>
                <a:gd name="connsiteX656" fmla="*/ 115494 w 1298190"/>
                <a:gd name="connsiteY656" fmla="*/ 995473 h 3657590"/>
                <a:gd name="connsiteX657" fmla="*/ 118136 w 1298190"/>
                <a:gd name="connsiteY657" fmla="*/ 995741 h 3657590"/>
                <a:gd name="connsiteX658" fmla="*/ 120828 w 1298190"/>
                <a:gd name="connsiteY658" fmla="*/ 995968 h 3657590"/>
                <a:gd name="connsiteX659" fmla="*/ 123546 w 1298190"/>
                <a:gd name="connsiteY659" fmla="*/ 996147 h 3657590"/>
                <a:gd name="connsiteX660" fmla="*/ 126315 w 1298190"/>
                <a:gd name="connsiteY660" fmla="*/ 996296 h 3657590"/>
                <a:gd name="connsiteX661" fmla="*/ 129121 w 1298190"/>
                <a:gd name="connsiteY661" fmla="*/ 996400 h 3657590"/>
                <a:gd name="connsiteX662" fmla="*/ 131953 w 1298190"/>
                <a:gd name="connsiteY662" fmla="*/ 996449 h 3657590"/>
                <a:gd name="connsiteX663" fmla="*/ 133223 w 1298190"/>
                <a:gd name="connsiteY663" fmla="*/ 996449 h 3657590"/>
                <a:gd name="connsiteX664" fmla="*/ 134849 w 1298190"/>
                <a:gd name="connsiteY664" fmla="*/ 996449 h 3657590"/>
                <a:gd name="connsiteX665" fmla="*/ 137770 w 1298190"/>
                <a:gd name="connsiteY665" fmla="*/ 996386 h 3657590"/>
                <a:gd name="connsiteX666" fmla="*/ 140742 w 1298190"/>
                <a:gd name="connsiteY666" fmla="*/ 996246 h 3657590"/>
                <a:gd name="connsiteX667" fmla="*/ 143752 w 1298190"/>
                <a:gd name="connsiteY667" fmla="*/ 996043 h 3657590"/>
                <a:gd name="connsiteX668" fmla="*/ 146787 w 1298190"/>
                <a:gd name="connsiteY668" fmla="*/ 995751 h 3657590"/>
                <a:gd name="connsiteX669" fmla="*/ 149873 w 1298190"/>
                <a:gd name="connsiteY669" fmla="*/ 995359 h 3657590"/>
                <a:gd name="connsiteX670" fmla="*/ 152997 w 1298190"/>
                <a:gd name="connsiteY670" fmla="*/ 994862 h 3657590"/>
                <a:gd name="connsiteX671" fmla="*/ 159804 w 1298190"/>
                <a:gd name="connsiteY671" fmla="*/ 993373 h 3657590"/>
                <a:gd name="connsiteX672" fmla="*/ 167221 w 1298190"/>
                <a:gd name="connsiteY672" fmla="*/ 990938 h 3657590"/>
                <a:gd name="connsiteX673" fmla="*/ 173317 w 1298190"/>
                <a:gd name="connsiteY673" fmla="*/ 988066 h 3657590"/>
                <a:gd name="connsiteX674" fmla="*/ 178384 w 1298190"/>
                <a:gd name="connsiteY674" fmla="*/ 984816 h 3657590"/>
                <a:gd name="connsiteX675" fmla="*/ 182588 w 1298190"/>
                <a:gd name="connsiteY675" fmla="*/ 981250 h 3657590"/>
                <a:gd name="connsiteX676" fmla="*/ 184709 w 1298190"/>
                <a:gd name="connsiteY676" fmla="*/ 978997 h 3657590"/>
                <a:gd name="connsiteX677" fmla="*/ 188989 w 1298190"/>
                <a:gd name="connsiteY677" fmla="*/ 973004 h 3657590"/>
                <a:gd name="connsiteX678" fmla="*/ 150114 w 1298190"/>
                <a:gd name="connsiteY678" fmla="*/ 859493 h 3657590"/>
                <a:gd name="connsiteX679" fmla="*/ 181471 w 1298190"/>
                <a:gd name="connsiteY679" fmla="*/ 825799 h 3657590"/>
                <a:gd name="connsiteX680" fmla="*/ 183477 w 1298190"/>
                <a:gd name="connsiteY680" fmla="*/ 823820 h 3657590"/>
                <a:gd name="connsiteX681" fmla="*/ 185496 w 1298190"/>
                <a:gd name="connsiteY681" fmla="*/ 821850 h 3657590"/>
                <a:gd name="connsiteX682" fmla="*/ 187338 w 1298190"/>
                <a:gd name="connsiteY682" fmla="*/ 820060 h 3657590"/>
                <a:gd name="connsiteX683" fmla="*/ 189319 w 1298190"/>
                <a:gd name="connsiteY683" fmla="*/ 818169 h 3657590"/>
                <a:gd name="connsiteX684" fmla="*/ 191186 w 1298190"/>
                <a:gd name="connsiteY684" fmla="*/ 816378 h 3657590"/>
                <a:gd name="connsiteX685" fmla="*/ 193129 w 1298190"/>
                <a:gd name="connsiteY685" fmla="*/ 814563 h 3657590"/>
                <a:gd name="connsiteX686" fmla="*/ 195110 w 1298190"/>
                <a:gd name="connsiteY686" fmla="*/ 812708 h 3657590"/>
                <a:gd name="connsiteX687" fmla="*/ 197028 w 1298190"/>
                <a:gd name="connsiteY687" fmla="*/ 810926 h 3657590"/>
                <a:gd name="connsiteX688" fmla="*/ 199022 w 1298190"/>
                <a:gd name="connsiteY688" fmla="*/ 809101 h 3657590"/>
                <a:gd name="connsiteX689" fmla="*/ 200952 w 1298190"/>
                <a:gd name="connsiteY689" fmla="*/ 807349 h 3657590"/>
                <a:gd name="connsiteX690" fmla="*/ 202934 w 1298190"/>
                <a:gd name="connsiteY690" fmla="*/ 805569 h 3657590"/>
                <a:gd name="connsiteX691" fmla="*/ 204953 w 1298190"/>
                <a:gd name="connsiteY691" fmla="*/ 803777 h 3657590"/>
                <a:gd name="connsiteX692" fmla="*/ 206921 w 1298190"/>
                <a:gd name="connsiteY692" fmla="*/ 802036 h 3657590"/>
                <a:gd name="connsiteX693" fmla="*/ 208953 w 1298190"/>
                <a:gd name="connsiteY693" fmla="*/ 800260 h 3657590"/>
                <a:gd name="connsiteX694" fmla="*/ 210934 w 1298190"/>
                <a:gd name="connsiteY694" fmla="*/ 798543 h 3657590"/>
                <a:gd name="connsiteX695" fmla="*/ 214071 w 1298190"/>
                <a:gd name="connsiteY695" fmla="*/ 795855 h 3657590"/>
                <a:gd name="connsiteX696" fmla="*/ 218123 w 1298190"/>
                <a:gd name="connsiteY696" fmla="*/ 792437 h 3657590"/>
                <a:gd name="connsiteX697" fmla="*/ 222199 w 1298190"/>
                <a:gd name="connsiteY697" fmla="*/ 789073 h 3657590"/>
                <a:gd name="connsiteX698" fmla="*/ 226327 w 1298190"/>
                <a:gd name="connsiteY698" fmla="*/ 785729 h 3657590"/>
                <a:gd name="connsiteX699" fmla="*/ 230467 w 1298190"/>
                <a:gd name="connsiteY699" fmla="*/ 782431 h 3657590"/>
                <a:gd name="connsiteX700" fmla="*/ 234645 w 1298190"/>
                <a:gd name="connsiteY700" fmla="*/ 779166 h 3657590"/>
                <a:gd name="connsiteX701" fmla="*/ 238862 w 1298190"/>
                <a:gd name="connsiteY701" fmla="*/ 775941 h 3657590"/>
                <a:gd name="connsiteX702" fmla="*/ 243091 w 1298190"/>
                <a:gd name="connsiteY702" fmla="*/ 772752 h 3657590"/>
                <a:gd name="connsiteX703" fmla="*/ 247358 w 1298190"/>
                <a:gd name="connsiteY703" fmla="*/ 769601 h 3657590"/>
                <a:gd name="connsiteX704" fmla="*/ 251651 w 1298190"/>
                <a:gd name="connsiteY704" fmla="*/ 766506 h 3657590"/>
                <a:gd name="connsiteX705" fmla="*/ 255981 w 1298190"/>
                <a:gd name="connsiteY705" fmla="*/ 763430 h 3657590"/>
                <a:gd name="connsiteX706" fmla="*/ 260337 w 1298190"/>
                <a:gd name="connsiteY706" fmla="*/ 760394 h 3657590"/>
                <a:gd name="connsiteX707" fmla="*/ 261379 w 1298190"/>
                <a:gd name="connsiteY707" fmla="*/ 759685 h 3657590"/>
                <a:gd name="connsiteX708" fmla="*/ 279514 w 1298190"/>
                <a:gd name="connsiteY708" fmla="*/ 777668 h 3657590"/>
                <a:gd name="connsiteX709" fmla="*/ 291541 w 1298190"/>
                <a:gd name="connsiteY709" fmla="*/ 787738 h 3657590"/>
                <a:gd name="connsiteX710" fmla="*/ 300520 w 1298190"/>
                <a:gd name="connsiteY710" fmla="*/ 794382 h 3657590"/>
                <a:gd name="connsiteX711" fmla="*/ 307950 w 1298190"/>
                <a:gd name="connsiteY711" fmla="*/ 799282 h 3657590"/>
                <a:gd name="connsiteX712" fmla="*/ 314325 w 1298190"/>
                <a:gd name="connsiteY712" fmla="*/ 803043 h 3657590"/>
                <a:gd name="connsiteX713" fmla="*/ 319926 w 1298190"/>
                <a:gd name="connsiteY713" fmla="*/ 805975 h 3657590"/>
                <a:gd name="connsiteX714" fmla="*/ 324891 w 1298190"/>
                <a:gd name="connsiteY714" fmla="*/ 808287 h 3657590"/>
                <a:gd name="connsiteX715" fmla="*/ 329362 w 1298190"/>
                <a:gd name="connsiteY715" fmla="*/ 810093 h 3657590"/>
                <a:gd name="connsiteX716" fmla="*/ 333362 w 1298190"/>
                <a:gd name="connsiteY716" fmla="*/ 811487 h 3657590"/>
                <a:gd name="connsiteX717" fmla="*/ 336931 w 1298190"/>
                <a:gd name="connsiteY717" fmla="*/ 812544 h 3657590"/>
                <a:gd name="connsiteX718" fmla="*/ 340118 w 1298190"/>
                <a:gd name="connsiteY718" fmla="*/ 813327 h 3657590"/>
                <a:gd name="connsiteX719" fmla="*/ 342887 w 1298190"/>
                <a:gd name="connsiteY719" fmla="*/ 813873 h 3657590"/>
                <a:gd name="connsiteX720" fmla="*/ 345237 w 1298190"/>
                <a:gd name="connsiteY720" fmla="*/ 814230 h 3657590"/>
                <a:gd name="connsiteX721" fmla="*/ 347129 w 1298190"/>
                <a:gd name="connsiteY721" fmla="*/ 814459 h 3657590"/>
                <a:gd name="connsiteX722" fmla="*/ 348488 w 1298190"/>
                <a:gd name="connsiteY722" fmla="*/ 814572 h 3657590"/>
                <a:gd name="connsiteX723" fmla="*/ 349174 w 1298190"/>
                <a:gd name="connsiteY723" fmla="*/ 814621 h 3657590"/>
                <a:gd name="connsiteX724" fmla="*/ 352184 w 1298190"/>
                <a:gd name="connsiteY724" fmla="*/ 814712 h 3657590"/>
                <a:gd name="connsiteX725" fmla="*/ 372326 w 1298190"/>
                <a:gd name="connsiteY725" fmla="*/ 809533 h 3657590"/>
                <a:gd name="connsiteX726" fmla="*/ 382333 w 1298190"/>
                <a:gd name="connsiteY726" fmla="*/ 801278 h 3657590"/>
                <a:gd name="connsiteX727" fmla="*/ 395402 w 1298190"/>
                <a:gd name="connsiteY727" fmla="*/ 691650 h 3657590"/>
                <a:gd name="connsiteX728" fmla="*/ 399605 w 1298190"/>
                <a:gd name="connsiteY728" fmla="*/ 690192 h 3657590"/>
                <a:gd name="connsiteX729" fmla="*/ 403809 w 1298190"/>
                <a:gd name="connsiteY729" fmla="*/ 688769 h 3657590"/>
                <a:gd name="connsiteX730" fmla="*/ 407987 w 1298190"/>
                <a:gd name="connsiteY730" fmla="*/ 687384 h 3657590"/>
                <a:gd name="connsiteX731" fmla="*/ 412127 w 1298190"/>
                <a:gd name="connsiteY731" fmla="*/ 686050 h 3657590"/>
                <a:gd name="connsiteX732" fmla="*/ 416267 w 1298190"/>
                <a:gd name="connsiteY732" fmla="*/ 684755 h 3657590"/>
                <a:gd name="connsiteX733" fmla="*/ 420382 w 1298190"/>
                <a:gd name="connsiteY733" fmla="*/ 683510 h 3657590"/>
                <a:gd name="connsiteX734" fmla="*/ 424472 w 1298190"/>
                <a:gd name="connsiteY734" fmla="*/ 682289 h 3657590"/>
                <a:gd name="connsiteX735" fmla="*/ 428548 w 1298190"/>
                <a:gd name="connsiteY735" fmla="*/ 681123 h 3657590"/>
                <a:gd name="connsiteX736" fmla="*/ 432587 w 1298190"/>
                <a:gd name="connsiteY736" fmla="*/ 679993 h 3657590"/>
                <a:gd name="connsiteX737" fmla="*/ 436600 w 1298190"/>
                <a:gd name="connsiteY737" fmla="*/ 678887 h 3657590"/>
                <a:gd name="connsiteX738" fmla="*/ 440588 w 1298190"/>
                <a:gd name="connsiteY738" fmla="*/ 677834 h 3657590"/>
                <a:gd name="connsiteX739" fmla="*/ 444550 w 1298190"/>
                <a:gd name="connsiteY739" fmla="*/ 676818 h 3657590"/>
                <a:gd name="connsiteX740" fmla="*/ 448487 w 1298190"/>
                <a:gd name="connsiteY740" fmla="*/ 675840 h 3657590"/>
                <a:gd name="connsiteX741" fmla="*/ 452374 w 1298190"/>
                <a:gd name="connsiteY741" fmla="*/ 674898 h 3657590"/>
                <a:gd name="connsiteX742" fmla="*/ 456247 w 1298190"/>
                <a:gd name="connsiteY742" fmla="*/ 674000 h 3657590"/>
                <a:gd name="connsiteX743" fmla="*/ 460057 w 1298190"/>
                <a:gd name="connsiteY743" fmla="*/ 673121 h 3657590"/>
                <a:gd name="connsiteX744" fmla="*/ 463842 w 1298190"/>
                <a:gd name="connsiteY744" fmla="*/ 672298 h 3657590"/>
                <a:gd name="connsiteX745" fmla="*/ 467588 w 1298190"/>
                <a:gd name="connsiteY745" fmla="*/ 671494 h 3657590"/>
                <a:gd name="connsiteX746" fmla="*/ 471284 w 1298190"/>
                <a:gd name="connsiteY746" fmla="*/ 670736 h 3657590"/>
                <a:gd name="connsiteX747" fmla="*/ 474929 w 1298190"/>
                <a:gd name="connsiteY747" fmla="*/ 670011 h 3657590"/>
                <a:gd name="connsiteX748" fmla="*/ 478523 w 1298190"/>
                <a:gd name="connsiteY748" fmla="*/ 669311 h 3657590"/>
                <a:gd name="connsiteX749" fmla="*/ 482066 w 1298190"/>
                <a:gd name="connsiteY749" fmla="*/ 668662 h 3657590"/>
                <a:gd name="connsiteX750" fmla="*/ 485533 w 1298190"/>
                <a:gd name="connsiteY750" fmla="*/ 668027 h 3657590"/>
                <a:gd name="connsiteX751" fmla="*/ 488937 w 1298190"/>
                <a:gd name="connsiteY751" fmla="*/ 667447 h 3657590"/>
                <a:gd name="connsiteX752" fmla="*/ 492277 w 1298190"/>
                <a:gd name="connsiteY752" fmla="*/ 666885 h 3657590"/>
                <a:gd name="connsiteX753" fmla="*/ 495515 w 1298190"/>
                <a:gd name="connsiteY753" fmla="*/ 666365 h 3657590"/>
                <a:gd name="connsiteX754" fmla="*/ 498678 w 1298190"/>
                <a:gd name="connsiteY754" fmla="*/ 665869 h 3657590"/>
                <a:gd name="connsiteX755" fmla="*/ 501738 w 1298190"/>
                <a:gd name="connsiteY755" fmla="*/ 665412 h 3657590"/>
                <a:gd name="connsiteX756" fmla="*/ 504672 w 1298190"/>
                <a:gd name="connsiteY756" fmla="*/ 664996 h 3657590"/>
                <a:gd name="connsiteX757" fmla="*/ 507491 w 1298190"/>
                <a:gd name="connsiteY757" fmla="*/ 664599 h 3657590"/>
                <a:gd name="connsiteX758" fmla="*/ 510146 w 1298190"/>
                <a:gd name="connsiteY758" fmla="*/ 664241 h 3657590"/>
                <a:gd name="connsiteX759" fmla="*/ 512648 w 1298190"/>
                <a:gd name="connsiteY759" fmla="*/ 663924 h 3657590"/>
                <a:gd name="connsiteX760" fmla="*/ 514921 w 1298190"/>
                <a:gd name="connsiteY760" fmla="*/ 663637 h 3657590"/>
                <a:gd name="connsiteX761" fmla="*/ 516953 w 1298190"/>
                <a:gd name="connsiteY761" fmla="*/ 663393 h 3657590"/>
                <a:gd name="connsiteX762" fmla="*/ 518680 w 1298190"/>
                <a:gd name="connsiteY762" fmla="*/ 663190 h 3657590"/>
                <a:gd name="connsiteX763" fmla="*/ 519975 w 1298190"/>
                <a:gd name="connsiteY763" fmla="*/ 663036 h 3657590"/>
                <a:gd name="connsiteX764" fmla="*/ 520712 w 1298190"/>
                <a:gd name="connsiteY764" fmla="*/ 662961 h 3657590"/>
                <a:gd name="connsiteX765" fmla="*/ 541718 w 1298190"/>
                <a:gd name="connsiteY765" fmla="*/ 660982 h 3657590"/>
                <a:gd name="connsiteX766" fmla="*/ 571855 w 1298190"/>
                <a:gd name="connsiteY766" fmla="*/ 734106 h 3657590"/>
                <a:gd name="connsiteX767" fmla="*/ 572477 w 1298190"/>
                <a:gd name="connsiteY767" fmla="*/ 734970 h 3657590"/>
                <a:gd name="connsiteX768" fmla="*/ 573176 w 1298190"/>
                <a:gd name="connsiteY768" fmla="*/ 735882 h 3657590"/>
                <a:gd name="connsiteX769" fmla="*/ 573925 w 1298190"/>
                <a:gd name="connsiteY769" fmla="*/ 736849 h 3657590"/>
                <a:gd name="connsiteX770" fmla="*/ 574725 w 1298190"/>
                <a:gd name="connsiteY770" fmla="*/ 737867 h 3657590"/>
                <a:gd name="connsiteX771" fmla="*/ 575601 w 1298190"/>
                <a:gd name="connsiteY771" fmla="*/ 738944 h 3657590"/>
                <a:gd name="connsiteX772" fmla="*/ 576541 w 1298190"/>
                <a:gd name="connsiteY772" fmla="*/ 740064 h 3657590"/>
                <a:gd name="connsiteX773" fmla="*/ 577557 w 1298190"/>
                <a:gd name="connsiteY773" fmla="*/ 741230 h 3657590"/>
                <a:gd name="connsiteX774" fmla="*/ 578662 w 1298190"/>
                <a:gd name="connsiteY774" fmla="*/ 742450 h 3657590"/>
                <a:gd name="connsiteX775" fmla="*/ 579856 w 1298190"/>
                <a:gd name="connsiteY775" fmla="*/ 743706 h 3657590"/>
                <a:gd name="connsiteX776" fmla="*/ 581151 w 1298190"/>
                <a:gd name="connsiteY776" fmla="*/ 745015 h 3657590"/>
                <a:gd name="connsiteX777" fmla="*/ 582561 w 1298190"/>
                <a:gd name="connsiteY777" fmla="*/ 746359 h 3657590"/>
                <a:gd name="connsiteX778" fmla="*/ 584085 w 1298190"/>
                <a:gd name="connsiteY778" fmla="*/ 747743 h 3657590"/>
                <a:gd name="connsiteX779" fmla="*/ 585774 w 1298190"/>
                <a:gd name="connsiteY779" fmla="*/ 749167 h 3657590"/>
                <a:gd name="connsiteX780" fmla="*/ 587641 w 1298190"/>
                <a:gd name="connsiteY780" fmla="*/ 750631 h 3657590"/>
                <a:gd name="connsiteX781" fmla="*/ 589711 w 1298190"/>
                <a:gd name="connsiteY781" fmla="*/ 752115 h 3657590"/>
                <a:gd name="connsiteX782" fmla="*/ 592048 w 1298190"/>
                <a:gd name="connsiteY782" fmla="*/ 753612 h 3657590"/>
                <a:gd name="connsiteX783" fmla="*/ 594740 w 1298190"/>
                <a:gd name="connsiteY783" fmla="*/ 755111 h 3657590"/>
                <a:gd name="connsiteX784" fmla="*/ 597915 w 1298190"/>
                <a:gd name="connsiteY784" fmla="*/ 756584 h 3657590"/>
                <a:gd name="connsiteX785" fmla="*/ 601827 w 1298190"/>
                <a:gd name="connsiteY785" fmla="*/ 757994 h 3657590"/>
                <a:gd name="connsiteX786" fmla="*/ 607199 w 1298190"/>
                <a:gd name="connsiteY786" fmla="*/ 759214 h 3657590"/>
                <a:gd name="connsiteX787" fmla="*/ 612863 w 1298190"/>
                <a:gd name="connsiteY787" fmla="*/ 759636 h 3657590"/>
                <a:gd name="connsiteX788" fmla="*/ 620521 w 1298190"/>
                <a:gd name="connsiteY788" fmla="*/ 758856 h 3657590"/>
                <a:gd name="connsiteX789" fmla="*/ 621448 w 1298190"/>
                <a:gd name="connsiteY789" fmla="*/ 758668 h 3657590"/>
                <a:gd name="connsiteX790" fmla="*/ 635583 w 1298190"/>
                <a:gd name="connsiteY790" fmla="*/ 752864 h 3657590"/>
                <a:gd name="connsiteX791" fmla="*/ 641781 w 1298190"/>
                <a:gd name="connsiteY791" fmla="*/ 748672 h 3657590"/>
                <a:gd name="connsiteX792" fmla="*/ 646543 w 1298190"/>
                <a:gd name="connsiteY792" fmla="*/ 744748 h 3657590"/>
                <a:gd name="connsiteX793" fmla="*/ 650569 w 1298190"/>
                <a:gd name="connsiteY793" fmla="*/ 740953 h 3657590"/>
                <a:gd name="connsiteX794" fmla="*/ 652436 w 1298190"/>
                <a:gd name="connsiteY794" fmla="*/ 739033 h 3657590"/>
                <a:gd name="connsiteX795" fmla="*/ 693444 w 1298190"/>
                <a:gd name="connsiteY795" fmla="*/ 663661 h 3657590"/>
                <a:gd name="connsiteX796" fmla="*/ 693711 w 1298190"/>
                <a:gd name="connsiteY796" fmla="*/ 661846 h 3657590"/>
                <a:gd name="connsiteX797" fmla="*/ 693711 w 1298190"/>
                <a:gd name="connsiteY797" fmla="*/ 48 h 365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</a:cxnLst>
              <a:rect l="l" t="t" r="r" b="b"/>
              <a:pathLst>
                <a:path w="1298190" h="3657590">
                  <a:moveTo>
                    <a:pt x="693711" y="48"/>
                  </a:moveTo>
                  <a:lnTo>
                    <a:pt x="681011" y="48"/>
                  </a:lnTo>
                  <a:lnTo>
                    <a:pt x="681011" y="660902"/>
                  </a:lnTo>
                  <a:cubicBezTo>
                    <a:pt x="680592" y="662302"/>
                    <a:pt x="680147" y="663696"/>
                    <a:pt x="679690" y="665095"/>
                  </a:cubicBezTo>
                  <a:cubicBezTo>
                    <a:pt x="679170" y="666667"/>
                    <a:pt x="678636" y="668245"/>
                    <a:pt x="678077" y="669818"/>
                  </a:cubicBezTo>
                  <a:cubicBezTo>
                    <a:pt x="677531" y="671330"/>
                    <a:pt x="676972" y="672844"/>
                    <a:pt x="676401" y="674352"/>
                  </a:cubicBezTo>
                  <a:cubicBezTo>
                    <a:pt x="675855" y="675801"/>
                    <a:pt x="675283" y="677248"/>
                    <a:pt x="674699" y="678682"/>
                  </a:cubicBezTo>
                  <a:cubicBezTo>
                    <a:pt x="674128" y="680082"/>
                    <a:pt x="673556" y="681466"/>
                    <a:pt x="672959" y="682835"/>
                  </a:cubicBezTo>
                  <a:cubicBezTo>
                    <a:pt x="672388" y="684184"/>
                    <a:pt x="671791" y="685503"/>
                    <a:pt x="671194" y="686824"/>
                  </a:cubicBezTo>
                  <a:cubicBezTo>
                    <a:pt x="670610" y="688108"/>
                    <a:pt x="670013" y="689378"/>
                    <a:pt x="669403" y="690648"/>
                  </a:cubicBezTo>
                  <a:cubicBezTo>
                    <a:pt x="668819" y="691864"/>
                    <a:pt x="668222" y="693084"/>
                    <a:pt x="667613" y="694289"/>
                  </a:cubicBezTo>
                  <a:cubicBezTo>
                    <a:pt x="667016" y="695475"/>
                    <a:pt x="666406" y="696641"/>
                    <a:pt x="665797" y="697797"/>
                  </a:cubicBezTo>
                  <a:cubicBezTo>
                    <a:pt x="665200" y="698929"/>
                    <a:pt x="664590" y="700045"/>
                    <a:pt x="663980" y="701151"/>
                  </a:cubicBezTo>
                  <a:cubicBezTo>
                    <a:pt x="663371" y="702242"/>
                    <a:pt x="662761" y="703324"/>
                    <a:pt x="662152" y="704376"/>
                  </a:cubicBezTo>
                  <a:cubicBezTo>
                    <a:pt x="661542" y="705417"/>
                    <a:pt x="660932" y="706458"/>
                    <a:pt x="660310" y="707476"/>
                  </a:cubicBezTo>
                  <a:cubicBezTo>
                    <a:pt x="659700" y="708464"/>
                    <a:pt x="659091" y="709456"/>
                    <a:pt x="658469" y="710432"/>
                  </a:cubicBezTo>
                  <a:cubicBezTo>
                    <a:pt x="657859" y="711385"/>
                    <a:pt x="657237" y="712337"/>
                    <a:pt x="656614" y="713281"/>
                  </a:cubicBezTo>
                  <a:cubicBezTo>
                    <a:pt x="656005" y="714193"/>
                    <a:pt x="655383" y="715096"/>
                    <a:pt x="654760" y="715993"/>
                  </a:cubicBezTo>
                  <a:cubicBezTo>
                    <a:pt x="654151" y="716872"/>
                    <a:pt x="653528" y="717750"/>
                    <a:pt x="652906" y="718598"/>
                  </a:cubicBezTo>
                  <a:cubicBezTo>
                    <a:pt x="652284" y="719436"/>
                    <a:pt x="651661" y="720266"/>
                    <a:pt x="651039" y="721089"/>
                  </a:cubicBezTo>
                  <a:cubicBezTo>
                    <a:pt x="650417" y="721888"/>
                    <a:pt x="649795" y="722691"/>
                    <a:pt x="649172" y="723465"/>
                  </a:cubicBezTo>
                  <a:cubicBezTo>
                    <a:pt x="648550" y="724224"/>
                    <a:pt x="647928" y="724974"/>
                    <a:pt x="647305" y="725722"/>
                  </a:cubicBezTo>
                  <a:cubicBezTo>
                    <a:pt x="646683" y="726461"/>
                    <a:pt x="646061" y="727171"/>
                    <a:pt x="645426" y="727886"/>
                  </a:cubicBezTo>
                  <a:cubicBezTo>
                    <a:pt x="644804" y="728579"/>
                    <a:pt x="644169" y="729269"/>
                    <a:pt x="643533" y="729939"/>
                  </a:cubicBezTo>
                  <a:cubicBezTo>
                    <a:pt x="633653" y="740407"/>
                    <a:pt x="623061" y="746936"/>
                    <a:pt x="612863" y="746936"/>
                  </a:cubicBezTo>
                  <a:cubicBezTo>
                    <a:pt x="585380" y="746936"/>
                    <a:pt x="561555" y="698586"/>
                    <a:pt x="553097" y="653094"/>
                  </a:cubicBezTo>
                  <a:lnTo>
                    <a:pt x="552056" y="647543"/>
                  </a:lnTo>
                  <a:lnTo>
                    <a:pt x="546430" y="647910"/>
                  </a:lnTo>
                  <a:cubicBezTo>
                    <a:pt x="491477" y="651541"/>
                    <a:pt x="437438" y="662872"/>
                    <a:pt x="385826" y="681580"/>
                  </a:cubicBezTo>
                  <a:lnTo>
                    <a:pt x="384772" y="681961"/>
                  </a:lnTo>
                  <a:lnTo>
                    <a:pt x="382968" y="682607"/>
                  </a:lnTo>
                  <a:lnTo>
                    <a:pt x="380504" y="683510"/>
                  </a:lnTo>
                  <a:lnTo>
                    <a:pt x="381660" y="688402"/>
                  </a:lnTo>
                  <a:lnTo>
                    <a:pt x="381800" y="689021"/>
                  </a:lnTo>
                  <a:cubicBezTo>
                    <a:pt x="382397" y="691497"/>
                    <a:pt x="382943" y="694002"/>
                    <a:pt x="383438" y="696542"/>
                  </a:cubicBezTo>
                  <a:cubicBezTo>
                    <a:pt x="383933" y="699028"/>
                    <a:pt x="384378" y="701533"/>
                    <a:pt x="384784" y="704058"/>
                  </a:cubicBezTo>
                  <a:cubicBezTo>
                    <a:pt x="385153" y="706385"/>
                    <a:pt x="385496" y="708722"/>
                    <a:pt x="385788" y="711067"/>
                  </a:cubicBezTo>
                  <a:cubicBezTo>
                    <a:pt x="386067" y="713266"/>
                    <a:pt x="386308" y="715463"/>
                    <a:pt x="386511" y="717661"/>
                  </a:cubicBezTo>
                  <a:cubicBezTo>
                    <a:pt x="386715" y="719754"/>
                    <a:pt x="386880" y="721838"/>
                    <a:pt x="387007" y="723907"/>
                  </a:cubicBezTo>
                  <a:cubicBezTo>
                    <a:pt x="387134" y="725891"/>
                    <a:pt x="387235" y="727870"/>
                    <a:pt x="387299" y="729825"/>
                  </a:cubicBezTo>
                  <a:cubicBezTo>
                    <a:pt x="387375" y="731720"/>
                    <a:pt x="387413" y="733610"/>
                    <a:pt x="387413" y="735480"/>
                  </a:cubicBezTo>
                  <a:cubicBezTo>
                    <a:pt x="387426" y="737281"/>
                    <a:pt x="387413" y="739072"/>
                    <a:pt x="387362" y="740849"/>
                  </a:cubicBezTo>
                  <a:cubicBezTo>
                    <a:pt x="387324" y="742564"/>
                    <a:pt x="387261" y="744281"/>
                    <a:pt x="387172" y="745968"/>
                  </a:cubicBezTo>
                  <a:cubicBezTo>
                    <a:pt x="387070" y="747605"/>
                    <a:pt x="386956" y="749232"/>
                    <a:pt x="386816" y="750845"/>
                  </a:cubicBezTo>
                  <a:cubicBezTo>
                    <a:pt x="386689" y="752407"/>
                    <a:pt x="386524" y="753955"/>
                    <a:pt x="386346" y="755493"/>
                  </a:cubicBezTo>
                  <a:cubicBezTo>
                    <a:pt x="386169" y="756992"/>
                    <a:pt x="385965" y="758465"/>
                    <a:pt x="385737" y="759923"/>
                  </a:cubicBezTo>
                  <a:cubicBezTo>
                    <a:pt x="385508" y="761346"/>
                    <a:pt x="385267" y="762756"/>
                    <a:pt x="385000" y="764130"/>
                  </a:cubicBezTo>
                  <a:cubicBezTo>
                    <a:pt x="384746" y="765489"/>
                    <a:pt x="384454" y="766824"/>
                    <a:pt x="384149" y="768128"/>
                  </a:cubicBezTo>
                  <a:cubicBezTo>
                    <a:pt x="383857" y="769413"/>
                    <a:pt x="383527" y="770668"/>
                    <a:pt x="383184" y="771914"/>
                  </a:cubicBezTo>
                  <a:cubicBezTo>
                    <a:pt x="382841" y="773119"/>
                    <a:pt x="382486" y="774314"/>
                    <a:pt x="382105" y="775485"/>
                  </a:cubicBezTo>
                  <a:cubicBezTo>
                    <a:pt x="381724" y="776626"/>
                    <a:pt x="381317" y="777757"/>
                    <a:pt x="380898" y="778834"/>
                  </a:cubicBezTo>
                  <a:cubicBezTo>
                    <a:pt x="380479" y="779915"/>
                    <a:pt x="380047" y="780967"/>
                    <a:pt x="379590" y="781984"/>
                  </a:cubicBezTo>
                  <a:cubicBezTo>
                    <a:pt x="379133" y="782986"/>
                    <a:pt x="378663" y="783969"/>
                    <a:pt x="378168" y="784906"/>
                  </a:cubicBezTo>
                  <a:cubicBezTo>
                    <a:pt x="377672" y="785833"/>
                    <a:pt x="377164" y="786736"/>
                    <a:pt x="376631" y="787600"/>
                  </a:cubicBezTo>
                  <a:cubicBezTo>
                    <a:pt x="376110" y="788463"/>
                    <a:pt x="375564" y="789286"/>
                    <a:pt x="374993" y="790075"/>
                  </a:cubicBezTo>
                  <a:cubicBezTo>
                    <a:pt x="374434" y="790850"/>
                    <a:pt x="373862" y="791599"/>
                    <a:pt x="373253" y="792313"/>
                  </a:cubicBezTo>
                  <a:cubicBezTo>
                    <a:pt x="371094" y="794878"/>
                    <a:pt x="368681" y="796971"/>
                    <a:pt x="365976" y="798519"/>
                  </a:cubicBezTo>
                  <a:cubicBezTo>
                    <a:pt x="361924" y="800870"/>
                    <a:pt x="357263" y="801952"/>
                    <a:pt x="352171" y="801952"/>
                  </a:cubicBezTo>
                  <a:cubicBezTo>
                    <a:pt x="327330" y="801952"/>
                    <a:pt x="292240" y="776318"/>
                    <a:pt x="267272" y="747149"/>
                  </a:cubicBezTo>
                  <a:lnTo>
                    <a:pt x="263601" y="742867"/>
                  </a:lnTo>
                  <a:lnTo>
                    <a:pt x="258915" y="746017"/>
                  </a:lnTo>
                  <a:cubicBezTo>
                    <a:pt x="227825" y="766884"/>
                    <a:pt x="198857" y="790646"/>
                    <a:pt x="172365" y="816948"/>
                  </a:cubicBezTo>
                  <a:cubicBezTo>
                    <a:pt x="159957" y="829267"/>
                    <a:pt x="148082" y="842145"/>
                    <a:pt x="136792" y="855555"/>
                  </a:cubicBezTo>
                  <a:lnTo>
                    <a:pt x="133147" y="859875"/>
                  </a:lnTo>
                  <a:lnTo>
                    <a:pt x="137033" y="864003"/>
                  </a:lnTo>
                  <a:cubicBezTo>
                    <a:pt x="141923" y="869182"/>
                    <a:pt x="146622" y="874743"/>
                    <a:pt x="151041" y="880523"/>
                  </a:cubicBezTo>
                  <a:cubicBezTo>
                    <a:pt x="152362" y="882264"/>
                    <a:pt x="153670" y="884031"/>
                    <a:pt x="154940" y="885806"/>
                  </a:cubicBezTo>
                  <a:cubicBezTo>
                    <a:pt x="156452" y="887914"/>
                    <a:pt x="157899" y="890038"/>
                    <a:pt x="159322" y="892181"/>
                  </a:cubicBezTo>
                  <a:cubicBezTo>
                    <a:pt x="160604" y="894126"/>
                    <a:pt x="161849" y="896096"/>
                    <a:pt x="163056" y="898050"/>
                  </a:cubicBezTo>
                  <a:cubicBezTo>
                    <a:pt x="164160" y="899866"/>
                    <a:pt x="165240" y="901696"/>
                    <a:pt x="166269" y="903521"/>
                  </a:cubicBezTo>
                  <a:cubicBezTo>
                    <a:pt x="167246" y="905238"/>
                    <a:pt x="168174" y="906955"/>
                    <a:pt x="169075" y="908666"/>
                  </a:cubicBezTo>
                  <a:cubicBezTo>
                    <a:pt x="169926" y="910293"/>
                    <a:pt x="170739" y="911931"/>
                    <a:pt x="171514" y="913543"/>
                  </a:cubicBezTo>
                  <a:cubicBezTo>
                    <a:pt x="172263" y="915096"/>
                    <a:pt x="172974" y="916643"/>
                    <a:pt x="173647" y="918191"/>
                  </a:cubicBezTo>
                  <a:cubicBezTo>
                    <a:pt x="174295" y="919679"/>
                    <a:pt x="174917" y="921153"/>
                    <a:pt x="175489" y="922626"/>
                  </a:cubicBezTo>
                  <a:cubicBezTo>
                    <a:pt x="176048" y="924046"/>
                    <a:pt x="176581" y="925459"/>
                    <a:pt x="177076" y="926854"/>
                  </a:cubicBezTo>
                  <a:cubicBezTo>
                    <a:pt x="177546" y="928213"/>
                    <a:pt x="177991" y="929571"/>
                    <a:pt x="178410" y="930906"/>
                  </a:cubicBezTo>
                  <a:cubicBezTo>
                    <a:pt x="178803" y="932211"/>
                    <a:pt x="179172" y="933511"/>
                    <a:pt x="179502" y="934791"/>
                  </a:cubicBezTo>
                  <a:cubicBezTo>
                    <a:pt x="179832" y="936051"/>
                    <a:pt x="180124" y="937280"/>
                    <a:pt x="180378" y="938511"/>
                  </a:cubicBezTo>
                  <a:cubicBezTo>
                    <a:pt x="180632" y="939716"/>
                    <a:pt x="180848" y="940897"/>
                    <a:pt x="181039" y="942083"/>
                  </a:cubicBezTo>
                  <a:cubicBezTo>
                    <a:pt x="181217" y="943224"/>
                    <a:pt x="181369" y="944366"/>
                    <a:pt x="181483" y="945486"/>
                  </a:cubicBezTo>
                  <a:cubicBezTo>
                    <a:pt x="181597" y="946588"/>
                    <a:pt x="181674" y="947684"/>
                    <a:pt x="181712" y="948751"/>
                  </a:cubicBezTo>
                  <a:cubicBezTo>
                    <a:pt x="181763" y="949802"/>
                    <a:pt x="181763" y="950844"/>
                    <a:pt x="181737" y="951861"/>
                  </a:cubicBezTo>
                  <a:cubicBezTo>
                    <a:pt x="181712" y="952878"/>
                    <a:pt x="181661" y="953865"/>
                    <a:pt x="181559" y="954833"/>
                  </a:cubicBezTo>
                  <a:cubicBezTo>
                    <a:pt x="181471" y="955796"/>
                    <a:pt x="181343" y="956738"/>
                    <a:pt x="181178" y="957665"/>
                  </a:cubicBezTo>
                  <a:cubicBezTo>
                    <a:pt x="181013" y="958578"/>
                    <a:pt x="180810" y="959466"/>
                    <a:pt x="180581" y="960345"/>
                  </a:cubicBezTo>
                  <a:cubicBezTo>
                    <a:pt x="180340" y="961207"/>
                    <a:pt x="180074" y="962045"/>
                    <a:pt x="179769" y="962869"/>
                  </a:cubicBezTo>
                  <a:cubicBezTo>
                    <a:pt x="179464" y="963684"/>
                    <a:pt x="179121" y="964472"/>
                    <a:pt x="178740" y="965246"/>
                  </a:cubicBezTo>
                  <a:cubicBezTo>
                    <a:pt x="178499" y="965727"/>
                    <a:pt x="178257" y="966198"/>
                    <a:pt x="177991" y="966654"/>
                  </a:cubicBezTo>
                  <a:cubicBezTo>
                    <a:pt x="177826" y="966937"/>
                    <a:pt x="177661" y="967200"/>
                    <a:pt x="177495" y="967468"/>
                  </a:cubicBezTo>
                  <a:cubicBezTo>
                    <a:pt x="177038" y="968192"/>
                    <a:pt x="176530" y="968892"/>
                    <a:pt x="175997" y="969552"/>
                  </a:cubicBezTo>
                  <a:cubicBezTo>
                    <a:pt x="168110" y="979330"/>
                    <a:pt x="151740" y="983586"/>
                    <a:pt x="132106" y="983586"/>
                  </a:cubicBezTo>
                  <a:cubicBezTo>
                    <a:pt x="111900" y="983586"/>
                    <a:pt x="88227" y="979086"/>
                    <a:pt x="66777" y="971481"/>
                  </a:cubicBezTo>
                  <a:lnTo>
                    <a:pt x="63069" y="970172"/>
                  </a:lnTo>
                  <a:lnTo>
                    <a:pt x="61456" y="969602"/>
                  </a:lnTo>
                  <a:lnTo>
                    <a:pt x="58967" y="974672"/>
                  </a:lnTo>
                  <a:cubicBezTo>
                    <a:pt x="34646" y="1024022"/>
                    <a:pt x="17489" y="1076500"/>
                    <a:pt x="7938" y="1130637"/>
                  </a:cubicBezTo>
                  <a:lnTo>
                    <a:pt x="6948" y="1136199"/>
                  </a:lnTo>
                  <a:lnTo>
                    <a:pt x="12370" y="1137827"/>
                  </a:lnTo>
                  <a:cubicBezTo>
                    <a:pt x="41390" y="1146512"/>
                    <a:pt x="71070" y="1162730"/>
                    <a:pt x="87122" y="1180560"/>
                  </a:cubicBezTo>
                  <a:cubicBezTo>
                    <a:pt x="87910" y="1181423"/>
                    <a:pt x="88672" y="1182301"/>
                    <a:pt x="89383" y="1183188"/>
                  </a:cubicBezTo>
                  <a:cubicBezTo>
                    <a:pt x="90082" y="1184042"/>
                    <a:pt x="90755" y="1184890"/>
                    <a:pt x="91377" y="1185754"/>
                  </a:cubicBezTo>
                  <a:cubicBezTo>
                    <a:pt x="91987" y="1186582"/>
                    <a:pt x="92558" y="1187406"/>
                    <a:pt x="93104" y="1188229"/>
                  </a:cubicBezTo>
                  <a:cubicBezTo>
                    <a:pt x="93625" y="1189033"/>
                    <a:pt x="94108" y="1189817"/>
                    <a:pt x="94577" y="1190621"/>
                  </a:cubicBezTo>
                  <a:cubicBezTo>
                    <a:pt x="95022" y="1191394"/>
                    <a:pt x="95441" y="1192169"/>
                    <a:pt x="95822" y="1192942"/>
                  </a:cubicBezTo>
                  <a:cubicBezTo>
                    <a:pt x="96190" y="1193707"/>
                    <a:pt x="96546" y="1194455"/>
                    <a:pt x="96863" y="1195219"/>
                  </a:cubicBezTo>
                  <a:cubicBezTo>
                    <a:pt x="97168" y="1195953"/>
                    <a:pt x="97448" y="1196687"/>
                    <a:pt x="97701" y="1197426"/>
                  </a:cubicBezTo>
                  <a:cubicBezTo>
                    <a:pt x="97943" y="1198152"/>
                    <a:pt x="98171" y="1198876"/>
                    <a:pt x="98349" y="1199586"/>
                  </a:cubicBezTo>
                  <a:cubicBezTo>
                    <a:pt x="98540" y="1200294"/>
                    <a:pt x="98692" y="1201009"/>
                    <a:pt x="98819" y="1201708"/>
                  </a:cubicBezTo>
                  <a:cubicBezTo>
                    <a:pt x="98946" y="1202402"/>
                    <a:pt x="99048" y="1203102"/>
                    <a:pt x="99124" y="1203802"/>
                  </a:cubicBezTo>
                  <a:cubicBezTo>
                    <a:pt x="99187" y="1204486"/>
                    <a:pt x="99226" y="1205161"/>
                    <a:pt x="99238" y="1205845"/>
                  </a:cubicBezTo>
                  <a:cubicBezTo>
                    <a:pt x="99238" y="1205985"/>
                    <a:pt x="99238" y="1206139"/>
                    <a:pt x="99238" y="1206277"/>
                  </a:cubicBezTo>
                  <a:cubicBezTo>
                    <a:pt x="99238" y="1206813"/>
                    <a:pt x="99226" y="1207344"/>
                    <a:pt x="99187" y="1207880"/>
                  </a:cubicBezTo>
                  <a:cubicBezTo>
                    <a:pt x="99137" y="1208554"/>
                    <a:pt x="99060" y="1209215"/>
                    <a:pt x="98946" y="1209884"/>
                  </a:cubicBezTo>
                  <a:cubicBezTo>
                    <a:pt x="98845" y="1210543"/>
                    <a:pt x="98705" y="1211209"/>
                    <a:pt x="98540" y="1211868"/>
                  </a:cubicBezTo>
                  <a:cubicBezTo>
                    <a:pt x="98375" y="1212528"/>
                    <a:pt x="98184" y="1213187"/>
                    <a:pt x="97968" y="1213847"/>
                  </a:cubicBezTo>
                  <a:cubicBezTo>
                    <a:pt x="97752" y="1214508"/>
                    <a:pt x="97498" y="1215157"/>
                    <a:pt x="97232" y="1215802"/>
                  </a:cubicBezTo>
                  <a:cubicBezTo>
                    <a:pt x="96965" y="1216452"/>
                    <a:pt x="96660" y="1217111"/>
                    <a:pt x="96330" y="1217757"/>
                  </a:cubicBezTo>
                  <a:cubicBezTo>
                    <a:pt x="96012" y="1218407"/>
                    <a:pt x="95657" y="1219057"/>
                    <a:pt x="95276" y="1219692"/>
                  </a:cubicBezTo>
                  <a:cubicBezTo>
                    <a:pt x="94907" y="1220336"/>
                    <a:pt x="94501" y="1220971"/>
                    <a:pt x="94082" y="1221606"/>
                  </a:cubicBezTo>
                  <a:cubicBezTo>
                    <a:pt x="93650" y="1222256"/>
                    <a:pt x="93193" y="1222891"/>
                    <a:pt x="92710" y="1223526"/>
                  </a:cubicBezTo>
                  <a:cubicBezTo>
                    <a:pt x="92241" y="1224161"/>
                    <a:pt x="91745" y="1224781"/>
                    <a:pt x="91225" y="1225416"/>
                  </a:cubicBezTo>
                  <a:cubicBezTo>
                    <a:pt x="90704" y="1226042"/>
                    <a:pt x="90158" y="1226662"/>
                    <a:pt x="89586" y="1227282"/>
                  </a:cubicBezTo>
                  <a:cubicBezTo>
                    <a:pt x="73330" y="1245067"/>
                    <a:pt x="38952" y="1259810"/>
                    <a:pt x="5436" y="1266016"/>
                  </a:cubicBezTo>
                  <a:lnTo>
                    <a:pt x="3836" y="1266310"/>
                  </a:lnTo>
                  <a:lnTo>
                    <a:pt x="-126" y="1267049"/>
                  </a:lnTo>
                  <a:lnTo>
                    <a:pt x="242" y="1272686"/>
                  </a:lnTo>
                  <a:cubicBezTo>
                    <a:pt x="3899" y="1327690"/>
                    <a:pt x="15215" y="1381728"/>
                    <a:pt x="33922" y="1433290"/>
                  </a:cubicBezTo>
                  <a:lnTo>
                    <a:pt x="35840" y="1438612"/>
                  </a:lnTo>
                  <a:lnTo>
                    <a:pt x="41352" y="1437303"/>
                  </a:lnTo>
                  <a:cubicBezTo>
                    <a:pt x="56693" y="1433671"/>
                    <a:pt x="73229" y="1431703"/>
                    <a:pt x="88761" y="1431703"/>
                  </a:cubicBezTo>
                  <a:cubicBezTo>
                    <a:pt x="117183" y="1431703"/>
                    <a:pt x="142278" y="1438256"/>
                    <a:pt x="150864" y="1453128"/>
                  </a:cubicBezTo>
                  <a:cubicBezTo>
                    <a:pt x="160808" y="1470362"/>
                    <a:pt x="147854" y="1498632"/>
                    <a:pt x="126607" y="1524336"/>
                  </a:cubicBezTo>
                  <a:cubicBezTo>
                    <a:pt x="126213" y="1524819"/>
                    <a:pt x="125806" y="1525289"/>
                    <a:pt x="125400" y="1525771"/>
                  </a:cubicBezTo>
                  <a:cubicBezTo>
                    <a:pt x="125260" y="1525937"/>
                    <a:pt x="125133" y="1526102"/>
                    <a:pt x="124994" y="1526254"/>
                  </a:cubicBezTo>
                  <a:cubicBezTo>
                    <a:pt x="124422" y="1526927"/>
                    <a:pt x="123851" y="1527600"/>
                    <a:pt x="123279" y="1528261"/>
                  </a:cubicBezTo>
                  <a:cubicBezTo>
                    <a:pt x="122695" y="1528921"/>
                    <a:pt x="122124" y="1529581"/>
                    <a:pt x="121539" y="1530229"/>
                  </a:cubicBezTo>
                  <a:cubicBezTo>
                    <a:pt x="120955" y="1530902"/>
                    <a:pt x="120358" y="1531563"/>
                    <a:pt x="119749" y="1532223"/>
                  </a:cubicBezTo>
                  <a:cubicBezTo>
                    <a:pt x="119164" y="1532871"/>
                    <a:pt x="118568" y="1533506"/>
                    <a:pt x="117971" y="1534141"/>
                  </a:cubicBezTo>
                  <a:cubicBezTo>
                    <a:pt x="117361" y="1534801"/>
                    <a:pt x="116739" y="1535462"/>
                    <a:pt x="116116" y="1536109"/>
                  </a:cubicBezTo>
                  <a:cubicBezTo>
                    <a:pt x="115494" y="1536757"/>
                    <a:pt x="114872" y="1537405"/>
                    <a:pt x="114250" y="1538052"/>
                  </a:cubicBezTo>
                  <a:cubicBezTo>
                    <a:pt x="109513" y="1542891"/>
                    <a:pt x="104560" y="1547526"/>
                    <a:pt x="99492" y="1551870"/>
                  </a:cubicBezTo>
                  <a:lnTo>
                    <a:pt x="99187" y="1552124"/>
                  </a:lnTo>
                  <a:lnTo>
                    <a:pt x="95200" y="1555540"/>
                  </a:lnTo>
                  <a:lnTo>
                    <a:pt x="98349" y="1560226"/>
                  </a:lnTo>
                  <a:cubicBezTo>
                    <a:pt x="128931" y="1605794"/>
                    <a:pt x="165799" y="1646866"/>
                    <a:pt x="207899" y="1682311"/>
                  </a:cubicBezTo>
                  <a:lnTo>
                    <a:pt x="212217" y="1685956"/>
                  </a:lnTo>
                  <a:lnTo>
                    <a:pt x="216332" y="1682083"/>
                  </a:lnTo>
                  <a:cubicBezTo>
                    <a:pt x="242456" y="1657495"/>
                    <a:pt x="278168" y="1637341"/>
                    <a:pt x="303085" y="1637341"/>
                  </a:cubicBezTo>
                  <a:cubicBezTo>
                    <a:pt x="309118" y="1637341"/>
                    <a:pt x="314515" y="1638522"/>
                    <a:pt x="318998" y="1641113"/>
                  </a:cubicBezTo>
                  <a:cubicBezTo>
                    <a:pt x="342011" y="1654384"/>
                    <a:pt x="339509" y="1708092"/>
                    <a:pt x="323786" y="1752352"/>
                  </a:cubicBezTo>
                  <a:lnTo>
                    <a:pt x="321907" y="1757686"/>
                  </a:lnTo>
                  <a:lnTo>
                    <a:pt x="326974" y="1760175"/>
                  </a:lnTo>
                  <a:cubicBezTo>
                    <a:pt x="376326" y="1784483"/>
                    <a:pt x="428815" y="1801653"/>
                    <a:pt x="482968" y="1811203"/>
                  </a:cubicBezTo>
                  <a:lnTo>
                    <a:pt x="488543" y="1812181"/>
                  </a:lnTo>
                  <a:lnTo>
                    <a:pt x="489800" y="1807990"/>
                  </a:lnTo>
                  <a:lnTo>
                    <a:pt x="490169" y="1806771"/>
                  </a:lnTo>
                  <a:cubicBezTo>
                    <a:pt x="498652" y="1778425"/>
                    <a:pt x="514311" y="1749418"/>
                    <a:pt x="531647" y="1733124"/>
                  </a:cubicBezTo>
                  <a:cubicBezTo>
                    <a:pt x="532282" y="1732540"/>
                    <a:pt x="532904" y="1731968"/>
                    <a:pt x="533526" y="1731409"/>
                  </a:cubicBezTo>
                  <a:cubicBezTo>
                    <a:pt x="534149" y="1730863"/>
                    <a:pt x="534771" y="1730330"/>
                    <a:pt x="535406" y="1729822"/>
                  </a:cubicBezTo>
                  <a:cubicBezTo>
                    <a:pt x="536028" y="1729301"/>
                    <a:pt x="536663" y="1728806"/>
                    <a:pt x="537286" y="1728323"/>
                  </a:cubicBezTo>
                  <a:cubicBezTo>
                    <a:pt x="537921" y="1727853"/>
                    <a:pt x="538543" y="1727396"/>
                    <a:pt x="539178" y="1726952"/>
                  </a:cubicBezTo>
                  <a:cubicBezTo>
                    <a:pt x="539800" y="1726507"/>
                    <a:pt x="540435" y="1726088"/>
                    <a:pt x="541057" y="1725682"/>
                  </a:cubicBezTo>
                  <a:cubicBezTo>
                    <a:pt x="541692" y="1725288"/>
                    <a:pt x="542328" y="1724894"/>
                    <a:pt x="542962" y="1724539"/>
                  </a:cubicBezTo>
                  <a:cubicBezTo>
                    <a:pt x="543585" y="1724170"/>
                    <a:pt x="544220" y="1723827"/>
                    <a:pt x="544855" y="1723497"/>
                  </a:cubicBezTo>
                  <a:cubicBezTo>
                    <a:pt x="545490" y="1723180"/>
                    <a:pt x="546125" y="1722875"/>
                    <a:pt x="546760" y="1722583"/>
                  </a:cubicBezTo>
                  <a:cubicBezTo>
                    <a:pt x="547395" y="1722303"/>
                    <a:pt x="548030" y="1722037"/>
                    <a:pt x="548665" y="1721795"/>
                  </a:cubicBezTo>
                  <a:cubicBezTo>
                    <a:pt x="549300" y="1721554"/>
                    <a:pt x="549947" y="1721338"/>
                    <a:pt x="550582" y="1721135"/>
                  </a:cubicBezTo>
                  <a:cubicBezTo>
                    <a:pt x="551217" y="1720932"/>
                    <a:pt x="551865" y="1720767"/>
                    <a:pt x="552500" y="1720602"/>
                  </a:cubicBezTo>
                  <a:cubicBezTo>
                    <a:pt x="553148" y="1720449"/>
                    <a:pt x="553796" y="1720322"/>
                    <a:pt x="554443" y="1720208"/>
                  </a:cubicBezTo>
                  <a:cubicBezTo>
                    <a:pt x="555078" y="1720106"/>
                    <a:pt x="555726" y="1720017"/>
                    <a:pt x="556374" y="1719967"/>
                  </a:cubicBezTo>
                  <a:cubicBezTo>
                    <a:pt x="557021" y="1719903"/>
                    <a:pt x="557682" y="1719865"/>
                    <a:pt x="558329" y="1719865"/>
                  </a:cubicBezTo>
                  <a:cubicBezTo>
                    <a:pt x="558418" y="1719865"/>
                    <a:pt x="558507" y="1719865"/>
                    <a:pt x="558583" y="1719865"/>
                  </a:cubicBezTo>
                  <a:cubicBezTo>
                    <a:pt x="559155" y="1719865"/>
                    <a:pt x="559726" y="1719878"/>
                    <a:pt x="560298" y="1719929"/>
                  </a:cubicBezTo>
                  <a:cubicBezTo>
                    <a:pt x="560958" y="1719979"/>
                    <a:pt x="561619" y="1720056"/>
                    <a:pt x="562279" y="1720170"/>
                  </a:cubicBezTo>
                  <a:cubicBezTo>
                    <a:pt x="562952" y="1720284"/>
                    <a:pt x="563625" y="1720424"/>
                    <a:pt x="564286" y="1720589"/>
                  </a:cubicBezTo>
                  <a:cubicBezTo>
                    <a:pt x="564971" y="1720754"/>
                    <a:pt x="565645" y="1720957"/>
                    <a:pt x="566318" y="1721186"/>
                  </a:cubicBezTo>
                  <a:cubicBezTo>
                    <a:pt x="567016" y="1721427"/>
                    <a:pt x="567715" y="1721694"/>
                    <a:pt x="568400" y="1721999"/>
                  </a:cubicBezTo>
                  <a:cubicBezTo>
                    <a:pt x="569112" y="1722303"/>
                    <a:pt x="569823" y="1722634"/>
                    <a:pt x="570521" y="1723002"/>
                  </a:cubicBezTo>
                  <a:cubicBezTo>
                    <a:pt x="571258" y="1723383"/>
                    <a:pt x="571982" y="1723802"/>
                    <a:pt x="572706" y="1724247"/>
                  </a:cubicBezTo>
                  <a:cubicBezTo>
                    <a:pt x="573442" y="1724704"/>
                    <a:pt x="574179" y="1725186"/>
                    <a:pt x="574903" y="1725707"/>
                  </a:cubicBezTo>
                  <a:cubicBezTo>
                    <a:pt x="594766" y="1739817"/>
                    <a:pt x="611606" y="1777256"/>
                    <a:pt x="618349" y="1813705"/>
                  </a:cubicBezTo>
                  <a:lnTo>
                    <a:pt x="619378" y="1819255"/>
                  </a:lnTo>
                  <a:lnTo>
                    <a:pt x="625017" y="1818887"/>
                  </a:lnTo>
                  <a:cubicBezTo>
                    <a:pt x="679932" y="1815254"/>
                    <a:pt x="733957" y="1803951"/>
                    <a:pt x="785621" y="1785257"/>
                  </a:cubicBezTo>
                  <a:lnTo>
                    <a:pt x="790942" y="1783327"/>
                  </a:lnTo>
                  <a:lnTo>
                    <a:pt x="790421" y="1781130"/>
                  </a:lnTo>
                  <a:lnTo>
                    <a:pt x="789647" y="1777828"/>
                  </a:lnTo>
                  <a:cubicBezTo>
                    <a:pt x="779918" y="1736718"/>
                    <a:pt x="782166" y="1687188"/>
                    <a:pt x="801927" y="1670742"/>
                  </a:cubicBezTo>
                  <a:cubicBezTo>
                    <a:pt x="802588" y="1670195"/>
                    <a:pt x="803261" y="1669688"/>
                    <a:pt x="803960" y="1669218"/>
                  </a:cubicBezTo>
                  <a:cubicBezTo>
                    <a:pt x="804455" y="1668887"/>
                    <a:pt x="804950" y="1668570"/>
                    <a:pt x="805471" y="1668278"/>
                  </a:cubicBezTo>
                  <a:cubicBezTo>
                    <a:pt x="805674" y="1668151"/>
                    <a:pt x="805877" y="1668036"/>
                    <a:pt x="806080" y="1667935"/>
                  </a:cubicBezTo>
                  <a:cubicBezTo>
                    <a:pt x="806804" y="1667541"/>
                    <a:pt x="807541" y="1667198"/>
                    <a:pt x="808303" y="1666881"/>
                  </a:cubicBezTo>
                  <a:cubicBezTo>
                    <a:pt x="809065" y="1666563"/>
                    <a:pt x="809840" y="1666297"/>
                    <a:pt x="810640" y="1666055"/>
                  </a:cubicBezTo>
                  <a:cubicBezTo>
                    <a:pt x="811427" y="1665814"/>
                    <a:pt x="812240" y="1665611"/>
                    <a:pt x="813078" y="1665446"/>
                  </a:cubicBezTo>
                  <a:cubicBezTo>
                    <a:pt x="813916" y="1665281"/>
                    <a:pt x="814767" y="1665154"/>
                    <a:pt x="815631" y="1665065"/>
                  </a:cubicBezTo>
                  <a:cubicBezTo>
                    <a:pt x="816507" y="1664963"/>
                    <a:pt x="817396" y="1664912"/>
                    <a:pt x="818298" y="1664887"/>
                  </a:cubicBezTo>
                  <a:cubicBezTo>
                    <a:pt x="818603" y="1664874"/>
                    <a:pt x="818920" y="1664874"/>
                    <a:pt x="819225" y="1664874"/>
                  </a:cubicBezTo>
                  <a:cubicBezTo>
                    <a:pt x="819834" y="1664874"/>
                    <a:pt x="820457" y="1664887"/>
                    <a:pt x="821079" y="1664912"/>
                  </a:cubicBezTo>
                  <a:cubicBezTo>
                    <a:pt x="822031" y="1664963"/>
                    <a:pt x="823009" y="1665052"/>
                    <a:pt x="823987" y="1665166"/>
                  </a:cubicBezTo>
                  <a:cubicBezTo>
                    <a:pt x="824978" y="1665281"/>
                    <a:pt x="825981" y="1665433"/>
                    <a:pt x="827010" y="1665623"/>
                  </a:cubicBezTo>
                  <a:cubicBezTo>
                    <a:pt x="828039" y="1665814"/>
                    <a:pt x="829093" y="1666043"/>
                    <a:pt x="830160" y="1666309"/>
                  </a:cubicBezTo>
                  <a:cubicBezTo>
                    <a:pt x="831239" y="1666576"/>
                    <a:pt x="832331" y="1666868"/>
                    <a:pt x="833436" y="1667211"/>
                  </a:cubicBezTo>
                  <a:cubicBezTo>
                    <a:pt x="834554" y="1667554"/>
                    <a:pt x="835697" y="1667922"/>
                    <a:pt x="836840" y="1668341"/>
                  </a:cubicBezTo>
                  <a:cubicBezTo>
                    <a:pt x="838008" y="1668760"/>
                    <a:pt x="839202" y="1669218"/>
                    <a:pt x="840396" y="1669700"/>
                  </a:cubicBezTo>
                  <a:cubicBezTo>
                    <a:pt x="841615" y="1670208"/>
                    <a:pt x="842847" y="1670754"/>
                    <a:pt x="844091" y="1671326"/>
                  </a:cubicBezTo>
                  <a:cubicBezTo>
                    <a:pt x="845374" y="1671910"/>
                    <a:pt x="846657" y="1672545"/>
                    <a:pt x="847965" y="1673205"/>
                  </a:cubicBezTo>
                  <a:cubicBezTo>
                    <a:pt x="849298" y="1673891"/>
                    <a:pt x="850657" y="1674628"/>
                    <a:pt x="852016" y="1675390"/>
                  </a:cubicBezTo>
                  <a:cubicBezTo>
                    <a:pt x="853426" y="1676177"/>
                    <a:pt x="854836" y="1677003"/>
                    <a:pt x="856245" y="1677866"/>
                  </a:cubicBezTo>
                  <a:cubicBezTo>
                    <a:pt x="857744" y="1678781"/>
                    <a:pt x="859242" y="1679733"/>
                    <a:pt x="860728" y="1680711"/>
                  </a:cubicBezTo>
                  <a:cubicBezTo>
                    <a:pt x="862316" y="1681765"/>
                    <a:pt x="863903" y="1682845"/>
                    <a:pt x="865478" y="1683962"/>
                  </a:cubicBezTo>
                  <a:cubicBezTo>
                    <a:pt x="867180" y="1685181"/>
                    <a:pt x="868882" y="1686426"/>
                    <a:pt x="870571" y="1687721"/>
                  </a:cubicBezTo>
                  <a:cubicBezTo>
                    <a:pt x="872425" y="1689144"/>
                    <a:pt x="874279" y="1690604"/>
                    <a:pt x="876108" y="1692103"/>
                  </a:cubicBezTo>
                  <a:cubicBezTo>
                    <a:pt x="876921" y="1692776"/>
                    <a:pt x="877746" y="1693462"/>
                    <a:pt x="878559" y="1694148"/>
                  </a:cubicBezTo>
                  <a:cubicBezTo>
                    <a:pt x="887081" y="1701374"/>
                    <a:pt x="895285" y="1709489"/>
                    <a:pt x="902664" y="1717935"/>
                  </a:cubicBezTo>
                  <a:lnTo>
                    <a:pt x="903108" y="1770627"/>
                  </a:lnTo>
                  <a:lnTo>
                    <a:pt x="903108" y="1772100"/>
                  </a:lnTo>
                  <a:lnTo>
                    <a:pt x="903121" y="1772621"/>
                  </a:lnTo>
                  <a:lnTo>
                    <a:pt x="903121" y="1773230"/>
                  </a:lnTo>
                  <a:lnTo>
                    <a:pt x="903133" y="1773891"/>
                  </a:lnTo>
                  <a:lnTo>
                    <a:pt x="903133" y="1774627"/>
                  </a:lnTo>
                  <a:lnTo>
                    <a:pt x="903146" y="1775440"/>
                  </a:lnTo>
                  <a:lnTo>
                    <a:pt x="903146" y="1776304"/>
                  </a:lnTo>
                  <a:lnTo>
                    <a:pt x="903159" y="1777243"/>
                  </a:lnTo>
                  <a:lnTo>
                    <a:pt x="903159" y="1778247"/>
                  </a:lnTo>
                  <a:lnTo>
                    <a:pt x="903172" y="1779301"/>
                  </a:lnTo>
                  <a:lnTo>
                    <a:pt x="903184" y="1780418"/>
                  </a:lnTo>
                  <a:lnTo>
                    <a:pt x="903197" y="1781600"/>
                  </a:lnTo>
                  <a:lnTo>
                    <a:pt x="903197" y="1782819"/>
                  </a:lnTo>
                  <a:lnTo>
                    <a:pt x="903235" y="1786857"/>
                  </a:lnTo>
                  <a:lnTo>
                    <a:pt x="903299" y="1795062"/>
                  </a:lnTo>
                  <a:lnTo>
                    <a:pt x="903375" y="1803024"/>
                  </a:lnTo>
                  <a:lnTo>
                    <a:pt x="903438" y="1810759"/>
                  </a:lnTo>
                  <a:lnTo>
                    <a:pt x="903502" y="1818265"/>
                  </a:lnTo>
                  <a:lnTo>
                    <a:pt x="903553" y="1825554"/>
                  </a:lnTo>
                  <a:lnTo>
                    <a:pt x="903616" y="1832628"/>
                  </a:lnTo>
                  <a:lnTo>
                    <a:pt x="903629" y="1834558"/>
                  </a:lnTo>
                  <a:cubicBezTo>
                    <a:pt x="903642" y="1836083"/>
                    <a:pt x="903642" y="1837721"/>
                    <a:pt x="903654" y="1839448"/>
                  </a:cubicBezTo>
                  <a:cubicBezTo>
                    <a:pt x="903654" y="1841505"/>
                    <a:pt x="903642" y="1843702"/>
                    <a:pt x="903629" y="1846001"/>
                  </a:cubicBezTo>
                  <a:cubicBezTo>
                    <a:pt x="903603" y="1848020"/>
                    <a:pt x="903565" y="1850116"/>
                    <a:pt x="903514" y="1852262"/>
                  </a:cubicBezTo>
                  <a:cubicBezTo>
                    <a:pt x="903464" y="1854218"/>
                    <a:pt x="903400" y="1856212"/>
                    <a:pt x="903311" y="1858231"/>
                  </a:cubicBezTo>
                  <a:cubicBezTo>
                    <a:pt x="903235" y="1860111"/>
                    <a:pt x="903133" y="1862003"/>
                    <a:pt x="903007" y="1863908"/>
                  </a:cubicBezTo>
                  <a:cubicBezTo>
                    <a:pt x="902892" y="1865699"/>
                    <a:pt x="902752" y="1867489"/>
                    <a:pt x="902587" y="1869267"/>
                  </a:cubicBezTo>
                  <a:cubicBezTo>
                    <a:pt x="902435" y="1870969"/>
                    <a:pt x="902257" y="1872658"/>
                    <a:pt x="902067" y="1874335"/>
                  </a:cubicBezTo>
                  <a:cubicBezTo>
                    <a:pt x="901876" y="1875935"/>
                    <a:pt x="901660" y="1877522"/>
                    <a:pt x="901419" y="1879084"/>
                  </a:cubicBezTo>
                  <a:cubicBezTo>
                    <a:pt x="901190" y="1880596"/>
                    <a:pt x="900936" y="1882082"/>
                    <a:pt x="900657" y="1883530"/>
                  </a:cubicBezTo>
                  <a:cubicBezTo>
                    <a:pt x="900390" y="1884939"/>
                    <a:pt x="900098" y="1886324"/>
                    <a:pt x="899781" y="1887670"/>
                  </a:cubicBezTo>
                  <a:cubicBezTo>
                    <a:pt x="899463" y="1888978"/>
                    <a:pt x="899133" y="1890248"/>
                    <a:pt x="898765" y="1891480"/>
                  </a:cubicBezTo>
                  <a:cubicBezTo>
                    <a:pt x="898409" y="1892674"/>
                    <a:pt x="898028" y="1893842"/>
                    <a:pt x="897622" y="1894959"/>
                  </a:cubicBezTo>
                  <a:cubicBezTo>
                    <a:pt x="897228" y="1896052"/>
                    <a:pt x="896796" y="1897106"/>
                    <a:pt x="896339" y="1898109"/>
                  </a:cubicBezTo>
                  <a:cubicBezTo>
                    <a:pt x="895882" y="1899100"/>
                    <a:pt x="895412" y="1900052"/>
                    <a:pt x="894904" y="1900941"/>
                  </a:cubicBezTo>
                  <a:cubicBezTo>
                    <a:pt x="894383" y="1901830"/>
                    <a:pt x="893837" y="1902681"/>
                    <a:pt x="893253" y="1903456"/>
                  </a:cubicBezTo>
                  <a:cubicBezTo>
                    <a:pt x="891869" y="1905323"/>
                    <a:pt x="890281" y="1906834"/>
                    <a:pt x="888490" y="1907863"/>
                  </a:cubicBezTo>
                  <a:cubicBezTo>
                    <a:pt x="885658" y="1909514"/>
                    <a:pt x="882496" y="1910263"/>
                    <a:pt x="879118" y="1910263"/>
                  </a:cubicBezTo>
                  <a:cubicBezTo>
                    <a:pt x="861986" y="1910263"/>
                    <a:pt x="839113" y="1890972"/>
                    <a:pt x="822806" y="1871922"/>
                  </a:cubicBezTo>
                  <a:lnTo>
                    <a:pt x="819123" y="1867629"/>
                  </a:lnTo>
                  <a:lnTo>
                    <a:pt x="814437" y="1870779"/>
                  </a:lnTo>
                  <a:cubicBezTo>
                    <a:pt x="791780" y="1885993"/>
                    <a:pt x="770647" y="1903291"/>
                    <a:pt x="751306" y="1922430"/>
                  </a:cubicBezTo>
                  <a:cubicBezTo>
                    <a:pt x="741984" y="1931650"/>
                    <a:pt x="733081" y="1941302"/>
                    <a:pt x="724623" y="1951360"/>
                  </a:cubicBezTo>
                  <a:lnTo>
                    <a:pt x="720965" y="1955691"/>
                  </a:lnTo>
                  <a:lnTo>
                    <a:pt x="724851" y="1959806"/>
                  </a:lnTo>
                  <a:cubicBezTo>
                    <a:pt x="727899" y="1963031"/>
                    <a:pt x="730859" y="1966486"/>
                    <a:pt x="733678" y="1970105"/>
                  </a:cubicBezTo>
                  <a:cubicBezTo>
                    <a:pt x="735418" y="1972328"/>
                    <a:pt x="737094" y="1974614"/>
                    <a:pt x="738707" y="1976938"/>
                  </a:cubicBezTo>
                  <a:cubicBezTo>
                    <a:pt x="740104" y="1978944"/>
                    <a:pt x="741450" y="1980976"/>
                    <a:pt x="742733" y="1983034"/>
                  </a:cubicBezTo>
                  <a:cubicBezTo>
                    <a:pt x="743876" y="1984863"/>
                    <a:pt x="744968" y="1986704"/>
                    <a:pt x="746010" y="1988546"/>
                  </a:cubicBezTo>
                  <a:cubicBezTo>
                    <a:pt x="746962" y="1990235"/>
                    <a:pt x="747864" y="1991936"/>
                    <a:pt x="748727" y="1993626"/>
                  </a:cubicBezTo>
                  <a:cubicBezTo>
                    <a:pt x="749515" y="1995213"/>
                    <a:pt x="750277" y="1996788"/>
                    <a:pt x="750975" y="1998363"/>
                  </a:cubicBezTo>
                  <a:cubicBezTo>
                    <a:pt x="751636" y="1999849"/>
                    <a:pt x="752258" y="2001334"/>
                    <a:pt x="752829" y="2002795"/>
                  </a:cubicBezTo>
                  <a:cubicBezTo>
                    <a:pt x="753376" y="2004205"/>
                    <a:pt x="753871" y="2005589"/>
                    <a:pt x="754328" y="2006960"/>
                  </a:cubicBezTo>
                  <a:cubicBezTo>
                    <a:pt x="754760" y="2008281"/>
                    <a:pt x="755141" y="2009589"/>
                    <a:pt x="755484" y="2010872"/>
                  </a:cubicBezTo>
                  <a:cubicBezTo>
                    <a:pt x="755814" y="2012130"/>
                    <a:pt x="756093" y="2013361"/>
                    <a:pt x="756335" y="2014568"/>
                  </a:cubicBezTo>
                  <a:cubicBezTo>
                    <a:pt x="756563" y="2015749"/>
                    <a:pt x="756741" y="2016905"/>
                    <a:pt x="756868" y="2018035"/>
                  </a:cubicBezTo>
                  <a:cubicBezTo>
                    <a:pt x="757008" y="2019140"/>
                    <a:pt x="757084" y="2020232"/>
                    <a:pt x="757122" y="2021286"/>
                  </a:cubicBezTo>
                  <a:cubicBezTo>
                    <a:pt x="757147" y="2022328"/>
                    <a:pt x="757135" y="2023344"/>
                    <a:pt x="757071" y="2024334"/>
                  </a:cubicBezTo>
                  <a:cubicBezTo>
                    <a:pt x="756995" y="2025299"/>
                    <a:pt x="756881" y="2026252"/>
                    <a:pt x="756716" y="2027154"/>
                  </a:cubicBezTo>
                  <a:cubicBezTo>
                    <a:pt x="756551" y="2028055"/>
                    <a:pt x="756322" y="2028932"/>
                    <a:pt x="756055" y="2029770"/>
                  </a:cubicBezTo>
                  <a:cubicBezTo>
                    <a:pt x="755776" y="2030608"/>
                    <a:pt x="755458" y="2031408"/>
                    <a:pt x="755077" y="2032170"/>
                  </a:cubicBezTo>
                  <a:cubicBezTo>
                    <a:pt x="754925" y="2032449"/>
                    <a:pt x="754773" y="2032729"/>
                    <a:pt x="754620" y="2033008"/>
                  </a:cubicBezTo>
                  <a:cubicBezTo>
                    <a:pt x="754353" y="2033465"/>
                    <a:pt x="754061" y="2033923"/>
                    <a:pt x="753744" y="2034354"/>
                  </a:cubicBezTo>
                  <a:cubicBezTo>
                    <a:pt x="748524" y="2041543"/>
                    <a:pt x="736878" y="2044667"/>
                    <a:pt x="722731" y="2044667"/>
                  </a:cubicBezTo>
                  <a:cubicBezTo>
                    <a:pt x="708125" y="2044667"/>
                    <a:pt x="690854" y="2041352"/>
                    <a:pt x="675182" y="2035789"/>
                  </a:cubicBezTo>
                  <a:lnTo>
                    <a:pt x="671486" y="2034481"/>
                  </a:lnTo>
                  <a:lnTo>
                    <a:pt x="669860" y="2033897"/>
                  </a:lnTo>
                  <a:lnTo>
                    <a:pt x="667359" y="2038977"/>
                  </a:lnTo>
                  <a:cubicBezTo>
                    <a:pt x="649477" y="2075286"/>
                    <a:pt x="636841" y="2113894"/>
                    <a:pt x="629830" y="2153709"/>
                  </a:cubicBezTo>
                  <a:lnTo>
                    <a:pt x="628840" y="2159284"/>
                  </a:lnTo>
                  <a:lnTo>
                    <a:pt x="634250" y="2160897"/>
                  </a:lnTo>
                  <a:cubicBezTo>
                    <a:pt x="654621" y="2166993"/>
                    <a:pt x="676071" y="2178652"/>
                    <a:pt x="687780" y="2191275"/>
                  </a:cubicBezTo>
                  <a:cubicBezTo>
                    <a:pt x="687907" y="2191415"/>
                    <a:pt x="688047" y="2191567"/>
                    <a:pt x="688174" y="2191707"/>
                  </a:cubicBezTo>
                  <a:cubicBezTo>
                    <a:pt x="688949" y="2192571"/>
                    <a:pt x="689685" y="2193422"/>
                    <a:pt x="690371" y="2194285"/>
                  </a:cubicBezTo>
                  <a:cubicBezTo>
                    <a:pt x="691006" y="2195098"/>
                    <a:pt x="691615" y="2195911"/>
                    <a:pt x="692162" y="2196736"/>
                  </a:cubicBezTo>
                  <a:cubicBezTo>
                    <a:pt x="692695" y="2197511"/>
                    <a:pt x="693190" y="2198286"/>
                    <a:pt x="693622" y="2199073"/>
                  </a:cubicBezTo>
                  <a:cubicBezTo>
                    <a:pt x="694054" y="2199822"/>
                    <a:pt x="694435" y="2200572"/>
                    <a:pt x="694778" y="2201321"/>
                  </a:cubicBezTo>
                  <a:cubicBezTo>
                    <a:pt x="695108" y="2202045"/>
                    <a:pt x="695400" y="2202781"/>
                    <a:pt x="695654" y="2203505"/>
                  </a:cubicBezTo>
                  <a:cubicBezTo>
                    <a:pt x="695895" y="2204204"/>
                    <a:pt x="696099" y="2204915"/>
                    <a:pt x="696264" y="2205614"/>
                  </a:cubicBezTo>
                  <a:cubicBezTo>
                    <a:pt x="696416" y="2206312"/>
                    <a:pt x="696530" y="2206998"/>
                    <a:pt x="696607" y="2207684"/>
                  </a:cubicBezTo>
                  <a:cubicBezTo>
                    <a:pt x="696670" y="2208268"/>
                    <a:pt x="696696" y="2208852"/>
                    <a:pt x="696696" y="2209436"/>
                  </a:cubicBezTo>
                  <a:cubicBezTo>
                    <a:pt x="696696" y="2209525"/>
                    <a:pt x="696696" y="2209614"/>
                    <a:pt x="696696" y="2209703"/>
                  </a:cubicBezTo>
                  <a:cubicBezTo>
                    <a:pt x="696683" y="2210363"/>
                    <a:pt x="696632" y="2211036"/>
                    <a:pt x="696530" y="2211697"/>
                  </a:cubicBezTo>
                  <a:cubicBezTo>
                    <a:pt x="696429" y="2212357"/>
                    <a:pt x="696289" y="2213018"/>
                    <a:pt x="696111" y="2213665"/>
                  </a:cubicBezTo>
                  <a:cubicBezTo>
                    <a:pt x="695934" y="2214326"/>
                    <a:pt x="695718" y="2214973"/>
                    <a:pt x="695451" y="2215621"/>
                  </a:cubicBezTo>
                  <a:cubicBezTo>
                    <a:pt x="695197" y="2216269"/>
                    <a:pt x="694892" y="2216917"/>
                    <a:pt x="694562" y="2217564"/>
                  </a:cubicBezTo>
                  <a:cubicBezTo>
                    <a:pt x="694232" y="2218199"/>
                    <a:pt x="693851" y="2218847"/>
                    <a:pt x="693444" y="2219482"/>
                  </a:cubicBezTo>
                  <a:cubicBezTo>
                    <a:pt x="693038" y="2220117"/>
                    <a:pt x="692594" y="2220752"/>
                    <a:pt x="692111" y="2221387"/>
                  </a:cubicBezTo>
                  <a:cubicBezTo>
                    <a:pt x="691628" y="2222022"/>
                    <a:pt x="691120" y="2222644"/>
                    <a:pt x="690574" y="2223267"/>
                  </a:cubicBezTo>
                  <a:cubicBezTo>
                    <a:pt x="679259" y="2236144"/>
                    <a:pt x="653986" y="2246965"/>
                    <a:pt x="629360" y="2251524"/>
                  </a:cubicBezTo>
                  <a:lnTo>
                    <a:pt x="627760" y="2251829"/>
                  </a:lnTo>
                  <a:lnTo>
                    <a:pt x="623798" y="2252565"/>
                  </a:lnTo>
                  <a:lnTo>
                    <a:pt x="624166" y="2258191"/>
                  </a:lnTo>
                  <a:cubicBezTo>
                    <a:pt x="626833" y="2298653"/>
                    <a:pt x="635177" y="2338404"/>
                    <a:pt x="648944" y="2376339"/>
                  </a:cubicBezTo>
                  <a:lnTo>
                    <a:pt x="650861" y="2381661"/>
                  </a:lnTo>
                  <a:lnTo>
                    <a:pt x="656373" y="2380352"/>
                  </a:lnTo>
                  <a:cubicBezTo>
                    <a:pt x="667282" y="2377774"/>
                    <a:pt x="679233" y="2376377"/>
                    <a:pt x="690498" y="2376377"/>
                  </a:cubicBezTo>
                  <a:cubicBezTo>
                    <a:pt x="710767" y="2376377"/>
                    <a:pt x="728839" y="2380886"/>
                    <a:pt x="734745" y="2391147"/>
                  </a:cubicBezTo>
                  <a:cubicBezTo>
                    <a:pt x="741425" y="2402717"/>
                    <a:pt x="732420" y="2422707"/>
                    <a:pt x="717282" y="2441160"/>
                  </a:cubicBezTo>
                  <a:cubicBezTo>
                    <a:pt x="716825" y="2441706"/>
                    <a:pt x="716368" y="2442265"/>
                    <a:pt x="715898" y="2442824"/>
                  </a:cubicBezTo>
                  <a:cubicBezTo>
                    <a:pt x="715834" y="2442900"/>
                    <a:pt x="715758" y="2442989"/>
                    <a:pt x="715695" y="2443065"/>
                  </a:cubicBezTo>
                  <a:cubicBezTo>
                    <a:pt x="715123" y="2443738"/>
                    <a:pt x="714564" y="2444386"/>
                    <a:pt x="713980" y="2445046"/>
                  </a:cubicBezTo>
                  <a:cubicBezTo>
                    <a:pt x="713396" y="2445719"/>
                    <a:pt x="712799" y="2446392"/>
                    <a:pt x="712190" y="2447065"/>
                  </a:cubicBezTo>
                  <a:cubicBezTo>
                    <a:pt x="711618" y="2447700"/>
                    <a:pt x="711021" y="2448335"/>
                    <a:pt x="710437" y="2448958"/>
                  </a:cubicBezTo>
                  <a:cubicBezTo>
                    <a:pt x="709853" y="2449593"/>
                    <a:pt x="709256" y="2450215"/>
                    <a:pt x="708646" y="2450837"/>
                  </a:cubicBezTo>
                  <a:cubicBezTo>
                    <a:pt x="705090" y="2454520"/>
                    <a:pt x="701344" y="2458063"/>
                    <a:pt x="697483" y="2461365"/>
                  </a:cubicBezTo>
                  <a:lnTo>
                    <a:pt x="697166" y="2461619"/>
                  </a:lnTo>
                  <a:lnTo>
                    <a:pt x="693190" y="2465023"/>
                  </a:lnTo>
                  <a:lnTo>
                    <a:pt x="696340" y="2469722"/>
                  </a:lnTo>
                  <a:cubicBezTo>
                    <a:pt x="718844" y="2503237"/>
                    <a:pt x="745946" y="2533451"/>
                    <a:pt x="776921" y="2559523"/>
                  </a:cubicBezTo>
                  <a:lnTo>
                    <a:pt x="781252" y="2563168"/>
                  </a:lnTo>
                  <a:lnTo>
                    <a:pt x="785367" y="2559295"/>
                  </a:lnTo>
                  <a:cubicBezTo>
                    <a:pt x="803896" y="2541833"/>
                    <a:pt x="830134" y="2526999"/>
                    <a:pt x="847863" y="2526999"/>
                  </a:cubicBezTo>
                  <a:cubicBezTo>
                    <a:pt x="851940" y="2526999"/>
                    <a:pt x="855572" y="2527799"/>
                    <a:pt x="858557" y="2529514"/>
                  </a:cubicBezTo>
                  <a:cubicBezTo>
                    <a:pt x="874660" y="2538797"/>
                    <a:pt x="872615" y="2577215"/>
                    <a:pt x="861325" y="2608990"/>
                  </a:cubicBezTo>
                  <a:lnTo>
                    <a:pt x="859433" y="2614311"/>
                  </a:lnTo>
                  <a:lnTo>
                    <a:pt x="864500" y="2616813"/>
                  </a:lnTo>
                  <a:cubicBezTo>
                    <a:pt x="900835" y="2634682"/>
                    <a:pt x="939443" y="2647306"/>
                    <a:pt x="979270" y="2654329"/>
                  </a:cubicBezTo>
                  <a:lnTo>
                    <a:pt x="984845" y="2655319"/>
                  </a:lnTo>
                  <a:lnTo>
                    <a:pt x="986090" y="2651128"/>
                  </a:lnTo>
                  <a:lnTo>
                    <a:pt x="986458" y="2649896"/>
                  </a:lnTo>
                  <a:cubicBezTo>
                    <a:pt x="992592" y="2629399"/>
                    <a:pt x="1004365" y="2607783"/>
                    <a:pt x="1017078" y="2596125"/>
                  </a:cubicBezTo>
                  <a:cubicBezTo>
                    <a:pt x="1017713" y="2595553"/>
                    <a:pt x="1018335" y="2595020"/>
                    <a:pt x="1018957" y="2594487"/>
                  </a:cubicBezTo>
                  <a:cubicBezTo>
                    <a:pt x="1019580" y="2593966"/>
                    <a:pt x="1020202" y="2593471"/>
                    <a:pt x="1020837" y="2593013"/>
                  </a:cubicBezTo>
                  <a:cubicBezTo>
                    <a:pt x="1021459" y="2592543"/>
                    <a:pt x="1022082" y="2592112"/>
                    <a:pt x="1022704" y="2591693"/>
                  </a:cubicBezTo>
                  <a:cubicBezTo>
                    <a:pt x="1023326" y="2591286"/>
                    <a:pt x="1023948" y="2590892"/>
                    <a:pt x="1024583" y="2590537"/>
                  </a:cubicBezTo>
                  <a:cubicBezTo>
                    <a:pt x="1025206" y="2590181"/>
                    <a:pt x="1025828" y="2589851"/>
                    <a:pt x="1026450" y="2589559"/>
                  </a:cubicBezTo>
                  <a:cubicBezTo>
                    <a:pt x="1027072" y="2589254"/>
                    <a:pt x="1027708" y="2588988"/>
                    <a:pt x="1028330" y="2588746"/>
                  </a:cubicBezTo>
                  <a:cubicBezTo>
                    <a:pt x="1028952" y="2588505"/>
                    <a:pt x="1029587" y="2588302"/>
                    <a:pt x="1030209" y="2588124"/>
                  </a:cubicBezTo>
                  <a:cubicBezTo>
                    <a:pt x="1030844" y="2587946"/>
                    <a:pt x="1031467" y="2587806"/>
                    <a:pt x="1032102" y="2587692"/>
                  </a:cubicBezTo>
                  <a:cubicBezTo>
                    <a:pt x="1032737" y="2587578"/>
                    <a:pt x="1033359" y="2587514"/>
                    <a:pt x="1033994" y="2587463"/>
                  </a:cubicBezTo>
                  <a:cubicBezTo>
                    <a:pt x="1034324" y="2587451"/>
                    <a:pt x="1034654" y="2587438"/>
                    <a:pt x="1034972" y="2587438"/>
                  </a:cubicBezTo>
                  <a:cubicBezTo>
                    <a:pt x="1035289" y="2587438"/>
                    <a:pt x="1035594" y="2587451"/>
                    <a:pt x="1035899" y="2587463"/>
                  </a:cubicBezTo>
                  <a:cubicBezTo>
                    <a:pt x="1036547" y="2587514"/>
                    <a:pt x="1037194" y="2587590"/>
                    <a:pt x="1037829" y="2587705"/>
                  </a:cubicBezTo>
                  <a:cubicBezTo>
                    <a:pt x="1038490" y="2587832"/>
                    <a:pt x="1039137" y="2587997"/>
                    <a:pt x="1039798" y="2588200"/>
                  </a:cubicBezTo>
                  <a:cubicBezTo>
                    <a:pt x="1040471" y="2588416"/>
                    <a:pt x="1041144" y="2588657"/>
                    <a:pt x="1041804" y="2588962"/>
                  </a:cubicBezTo>
                  <a:cubicBezTo>
                    <a:pt x="1042503" y="2589254"/>
                    <a:pt x="1043189" y="2589610"/>
                    <a:pt x="1043887" y="2590004"/>
                  </a:cubicBezTo>
                  <a:cubicBezTo>
                    <a:pt x="1044611" y="2590410"/>
                    <a:pt x="1045335" y="2590880"/>
                    <a:pt x="1046046" y="2591388"/>
                  </a:cubicBezTo>
                  <a:cubicBezTo>
                    <a:pt x="1060143" y="2601294"/>
                    <a:pt x="1072196" y="2628421"/>
                    <a:pt x="1077085" y="2654811"/>
                  </a:cubicBezTo>
                  <a:lnTo>
                    <a:pt x="1078126" y="2660361"/>
                  </a:lnTo>
                  <a:lnTo>
                    <a:pt x="1083752" y="2659993"/>
                  </a:lnTo>
                  <a:cubicBezTo>
                    <a:pt x="1124151" y="2657326"/>
                    <a:pt x="1163889" y="2648995"/>
                    <a:pt x="1201900" y="2635253"/>
                  </a:cubicBezTo>
                  <a:lnTo>
                    <a:pt x="1207222" y="2633323"/>
                  </a:lnTo>
                  <a:lnTo>
                    <a:pt x="1206701" y="2631113"/>
                  </a:lnTo>
                  <a:lnTo>
                    <a:pt x="1205913" y="2627811"/>
                  </a:lnTo>
                  <a:cubicBezTo>
                    <a:pt x="1198941" y="2598373"/>
                    <a:pt x="1200618" y="2561365"/>
                    <a:pt x="1215045" y="2550507"/>
                  </a:cubicBezTo>
                  <a:cubicBezTo>
                    <a:pt x="1215578" y="2550100"/>
                    <a:pt x="1216137" y="2549745"/>
                    <a:pt x="1216709" y="2549414"/>
                  </a:cubicBezTo>
                  <a:cubicBezTo>
                    <a:pt x="1216848" y="2549325"/>
                    <a:pt x="1216988" y="2549249"/>
                    <a:pt x="1217127" y="2549173"/>
                  </a:cubicBezTo>
                  <a:cubicBezTo>
                    <a:pt x="1217839" y="2548792"/>
                    <a:pt x="1218588" y="2548462"/>
                    <a:pt x="1219350" y="2548195"/>
                  </a:cubicBezTo>
                  <a:cubicBezTo>
                    <a:pt x="1220125" y="2547928"/>
                    <a:pt x="1220925" y="2547713"/>
                    <a:pt x="1221738" y="2547560"/>
                  </a:cubicBezTo>
                  <a:cubicBezTo>
                    <a:pt x="1222563" y="2547395"/>
                    <a:pt x="1223414" y="2547281"/>
                    <a:pt x="1224290" y="2547230"/>
                  </a:cubicBezTo>
                  <a:cubicBezTo>
                    <a:pt x="1224798" y="2547192"/>
                    <a:pt x="1225306" y="2547179"/>
                    <a:pt x="1225827" y="2547179"/>
                  </a:cubicBezTo>
                  <a:cubicBezTo>
                    <a:pt x="1226221" y="2547179"/>
                    <a:pt x="1226602" y="2547192"/>
                    <a:pt x="1227008" y="2547204"/>
                  </a:cubicBezTo>
                  <a:cubicBezTo>
                    <a:pt x="1227948" y="2547255"/>
                    <a:pt x="1228913" y="2547344"/>
                    <a:pt x="1229891" y="2547484"/>
                  </a:cubicBezTo>
                  <a:cubicBezTo>
                    <a:pt x="1230894" y="2547636"/>
                    <a:pt x="1231910" y="2547827"/>
                    <a:pt x="1232952" y="2548068"/>
                  </a:cubicBezTo>
                  <a:cubicBezTo>
                    <a:pt x="1234006" y="2548322"/>
                    <a:pt x="1235085" y="2548614"/>
                    <a:pt x="1236177" y="2548957"/>
                  </a:cubicBezTo>
                  <a:cubicBezTo>
                    <a:pt x="1237308" y="2549313"/>
                    <a:pt x="1238438" y="2549706"/>
                    <a:pt x="1239606" y="2550164"/>
                  </a:cubicBezTo>
                  <a:cubicBezTo>
                    <a:pt x="1240788" y="2550621"/>
                    <a:pt x="1241994" y="2551141"/>
                    <a:pt x="1243213" y="2551700"/>
                  </a:cubicBezTo>
                  <a:cubicBezTo>
                    <a:pt x="1244483" y="2552285"/>
                    <a:pt x="1245766" y="2552920"/>
                    <a:pt x="1247061" y="2553593"/>
                  </a:cubicBezTo>
                  <a:cubicBezTo>
                    <a:pt x="1248408" y="2554304"/>
                    <a:pt x="1249779" y="2555079"/>
                    <a:pt x="1251151" y="2555891"/>
                  </a:cubicBezTo>
                  <a:cubicBezTo>
                    <a:pt x="1252598" y="2556755"/>
                    <a:pt x="1254059" y="2557669"/>
                    <a:pt x="1255520" y="2558635"/>
                  </a:cubicBezTo>
                  <a:cubicBezTo>
                    <a:pt x="1257107" y="2559676"/>
                    <a:pt x="1258695" y="2560781"/>
                    <a:pt x="1260282" y="2561937"/>
                  </a:cubicBezTo>
                  <a:cubicBezTo>
                    <a:pt x="1262047" y="2563219"/>
                    <a:pt x="1263800" y="2564565"/>
                    <a:pt x="1265540" y="2565962"/>
                  </a:cubicBezTo>
                  <a:cubicBezTo>
                    <a:pt x="1267089" y="2567207"/>
                    <a:pt x="1268639" y="2568502"/>
                    <a:pt x="1270163" y="2569836"/>
                  </a:cubicBezTo>
                  <a:cubicBezTo>
                    <a:pt x="1275497" y="2574471"/>
                    <a:pt x="1280640" y="2579589"/>
                    <a:pt x="1285364" y="2584949"/>
                  </a:cubicBezTo>
                  <a:lnTo>
                    <a:pt x="1285364" y="3657639"/>
                  </a:lnTo>
                  <a:lnTo>
                    <a:pt x="1298064" y="3657639"/>
                  </a:lnTo>
                  <a:lnTo>
                    <a:pt x="1298064" y="2580237"/>
                  </a:lnTo>
                  <a:lnTo>
                    <a:pt x="1296540" y="2578459"/>
                  </a:lnTo>
                  <a:cubicBezTo>
                    <a:pt x="1281885" y="2561301"/>
                    <a:pt x="1251506" y="2534416"/>
                    <a:pt x="1225878" y="2534403"/>
                  </a:cubicBezTo>
                  <a:cubicBezTo>
                    <a:pt x="1220417" y="2534403"/>
                    <a:pt x="1215184" y="2535622"/>
                    <a:pt x="1210359" y="2538404"/>
                  </a:cubicBezTo>
                  <a:cubicBezTo>
                    <a:pt x="1208822" y="2539292"/>
                    <a:pt x="1207374" y="2540308"/>
                    <a:pt x="1206041" y="2541451"/>
                  </a:cubicBezTo>
                  <a:cubicBezTo>
                    <a:pt x="1204986" y="2542328"/>
                    <a:pt x="1203996" y="2543293"/>
                    <a:pt x="1203056" y="2544309"/>
                  </a:cubicBezTo>
                  <a:cubicBezTo>
                    <a:pt x="1202015" y="2545465"/>
                    <a:pt x="1201037" y="2546684"/>
                    <a:pt x="1200122" y="2547979"/>
                  </a:cubicBezTo>
                  <a:cubicBezTo>
                    <a:pt x="1199335" y="2549122"/>
                    <a:pt x="1198586" y="2550316"/>
                    <a:pt x="1197887" y="2551561"/>
                  </a:cubicBezTo>
                  <a:cubicBezTo>
                    <a:pt x="1197252" y="2552691"/>
                    <a:pt x="1196655" y="2553872"/>
                    <a:pt x="1196096" y="2555079"/>
                  </a:cubicBezTo>
                  <a:cubicBezTo>
                    <a:pt x="1195588" y="2556196"/>
                    <a:pt x="1195106" y="2557352"/>
                    <a:pt x="1194649" y="2558546"/>
                  </a:cubicBezTo>
                  <a:cubicBezTo>
                    <a:pt x="1194230" y="2559651"/>
                    <a:pt x="1193836" y="2560794"/>
                    <a:pt x="1193455" y="2561962"/>
                  </a:cubicBezTo>
                  <a:cubicBezTo>
                    <a:pt x="1193112" y="2563067"/>
                    <a:pt x="1192782" y="2564184"/>
                    <a:pt x="1192477" y="2565327"/>
                  </a:cubicBezTo>
                  <a:cubicBezTo>
                    <a:pt x="1192197" y="2566420"/>
                    <a:pt x="1191918" y="2567537"/>
                    <a:pt x="1191677" y="2568667"/>
                  </a:cubicBezTo>
                  <a:cubicBezTo>
                    <a:pt x="1191436" y="2569747"/>
                    <a:pt x="1191220" y="2570839"/>
                    <a:pt x="1191016" y="2571944"/>
                  </a:cubicBezTo>
                  <a:cubicBezTo>
                    <a:pt x="1190826" y="2573011"/>
                    <a:pt x="1190648" y="2574090"/>
                    <a:pt x="1190496" y="2575183"/>
                  </a:cubicBezTo>
                  <a:cubicBezTo>
                    <a:pt x="1190331" y="2576237"/>
                    <a:pt x="1190191" y="2577304"/>
                    <a:pt x="1190077" y="2578370"/>
                  </a:cubicBezTo>
                  <a:cubicBezTo>
                    <a:pt x="1189950" y="2579412"/>
                    <a:pt x="1189848" y="2580466"/>
                    <a:pt x="1189746" y="2581520"/>
                  </a:cubicBezTo>
                  <a:cubicBezTo>
                    <a:pt x="1189658" y="2582561"/>
                    <a:pt x="1189581" y="2583590"/>
                    <a:pt x="1189518" y="2584631"/>
                  </a:cubicBezTo>
                  <a:cubicBezTo>
                    <a:pt x="1189454" y="2585647"/>
                    <a:pt x="1189403" y="2586663"/>
                    <a:pt x="1189353" y="2587679"/>
                  </a:cubicBezTo>
                  <a:cubicBezTo>
                    <a:pt x="1189315" y="2588683"/>
                    <a:pt x="1189289" y="2589686"/>
                    <a:pt x="1189264" y="2590689"/>
                  </a:cubicBezTo>
                  <a:cubicBezTo>
                    <a:pt x="1189251" y="2591680"/>
                    <a:pt x="1189238" y="2592658"/>
                    <a:pt x="1189238" y="2593648"/>
                  </a:cubicBezTo>
                  <a:cubicBezTo>
                    <a:pt x="1189251" y="2594626"/>
                    <a:pt x="1189251" y="2595591"/>
                    <a:pt x="1189277" y="2596569"/>
                  </a:cubicBezTo>
                  <a:cubicBezTo>
                    <a:pt x="1189302" y="2597522"/>
                    <a:pt x="1189327" y="2598474"/>
                    <a:pt x="1189365" y="2599427"/>
                  </a:cubicBezTo>
                  <a:cubicBezTo>
                    <a:pt x="1189391" y="2600367"/>
                    <a:pt x="1189442" y="2601306"/>
                    <a:pt x="1189492" y="2602234"/>
                  </a:cubicBezTo>
                  <a:cubicBezTo>
                    <a:pt x="1189543" y="2603161"/>
                    <a:pt x="1189607" y="2604088"/>
                    <a:pt x="1189670" y="2605002"/>
                  </a:cubicBezTo>
                  <a:cubicBezTo>
                    <a:pt x="1189734" y="2605904"/>
                    <a:pt x="1189810" y="2606806"/>
                    <a:pt x="1189886" y="2607707"/>
                  </a:cubicBezTo>
                  <a:cubicBezTo>
                    <a:pt x="1189962" y="2608596"/>
                    <a:pt x="1190051" y="2609485"/>
                    <a:pt x="1190140" y="2610374"/>
                  </a:cubicBezTo>
                  <a:cubicBezTo>
                    <a:pt x="1190242" y="2611238"/>
                    <a:pt x="1190331" y="2612114"/>
                    <a:pt x="1190432" y="2612978"/>
                  </a:cubicBezTo>
                  <a:cubicBezTo>
                    <a:pt x="1190534" y="2613829"/>
                    <a:pt x="1190648" y="2614679"/>
                    <a:pt x="1190762" y="2615518"/>
                  </a:cubicBezTo>
                  <a:cubicBezTo>
                    <a:pt x="1190877" y="2616356"/>
                    <a:pt x="1190991" y="2617194"/>
                    <a:pt x="1191118" y="2618007"/>
                  </a:cubicBezTo>
                  <a:cubicBezTo>
                    <a:pt x="1191232" y="2618832"/>
                    <a:pt x="1191372" y="2619645"/>
                    <a:pt x="1191499" y="2620458"/>
                  </a:cubicBezTo>
                  <a:cubicBezTo>
                    <a:pt x="1191626" y="2621258"/>
                    <a:pt x="1191766" y="2622045"/>
                    <a:pt x="1191905" y="2622846"/>
                  </a:cubicBezTo>
                  <a:cubicBezTo>
                    <a:pt x="1192058" y="2623620"/>
                    <a:pt x="1192197" y="2624395"/>
                    <a:pt x="1192350" y="2625157"/>
                  </a:cubicBezTo>
                  <a:cubicBezTo>
                    <a:pt x="1158797" y="2636790"/>
                    <a:pt x="1123897" y="2644105"/>
                    <a:pt x="1088426" y="2646912"/>
                  </a:cubicBezTo>
                  <a:cubicBezTo>
                    <a:pt x="1082203" y="2619150"/>
                    <a:pt x="1064690" y="2574738"/>
                    <a:pt x="1034972" y="2574738"/>
                  </a:cubicBezTo>
                  <a:cubicBezTo>
                    <a:pt x="1025269" y="2574738"/>
                    <a:pt x="1016201" y="2579589"/>
                    <a:pt x="1008099" y="2587121"/>
                  </a:cubicBezTo>
                  <a:cubicBezTo>
                    <a:pt x="1007705" y="2587489"/>
                    <a:pt x="1007324" y="2587845"/>
                    <a:pt x="1006930" y="2588226"/>
                  </a:cubicBezTo>
                  <a:cubicBezTo>
                    <a:pt x="1005698" y="2589432"/>
                    <a:pt x="1004479" y="2590689"/>
                    <a:pt x="1003298" y="2592010"/>
                  </a:cubicBezTo>
                  <a:cubicBezTo>
                    <a:pt x="1002181" y="2593255"/>
                    <a:pt x="1001076" y="2594550"/>
                    <a:pt x="1000009" y="2595871"/>
                  </a:cubicBezTo>
                  <a:cubicBezTo>
                    <a:pt x="998980" y="2597141"/>
                    <a:pt x="997964" y="2598462"/>
                    <a:pt x="996986" y="2599795"/>
                  </a:cubicBezTo>
                  <a:cubicBezTo>
                    <a:pt x="996034" y="2601091"/>
                    <a:pt x="995107" y="2602424"/>
                    <a:pt x="994192" y="2603770"/>
                  </a:cubicBezTo>
                  <a:cubicBezTo>
                    <a:pt x="993316" y="2605091"/>
                    <a:pt x="992452" y="2606437"/>
                    <a:pt x="991601" y="2607796"/>
                  </a:cubicBezTo>
                  <a:cubicBezTo>
                    <a:pt x="990776" y="2609117"/>
                    <a:pt x="989963" y="2610476"/>
                    <a:pt x="989176" y="2611847"/>
                  </a:cubicBezTo>
                  <a:cubicBezTo>
                    <a:pt x="988401" y="2613194"/>
                    <a:pt x="987639" y="2614565"/>
                    <a:pt x="986903" y="2615924"/>
                  </a:cubicBezTo>
                  <a:cubicBezTo>
                    <a:pt x="986179" y="2617296"/>
                    <a:pt x="985467" y="2618655"/>
                    <a:pt x="984782" y="2620026"/>
                  </a:cubicBezTo>
                  <a:cubicBezTo>
                    <a:pt x="984083" y="2621410"/>
                    <a:pt x="983423" y="2622782"/>
                    <a:pt x="982775" y="2624154"/>
                  </a:cubicBezTo>
                  <a:cubicBezTo>
                    <a:pt x="982127" y="2625538"/>
                    <a:pt x="981505" y="2626922"/>
                    <a:pt x="980908" y="2628307"/>
                  </a:cubicBezTo>
                  <a:cubicBezTo>
                    <a:pt x="980299" y="2629704"/>
                    <a:pt x="979714" y="2631088"/>
                    <a:pt x="979168" y="2632459"/>
                  </a:cubicBezTo>
                  <a:cubicBezTo>
                    <a:pt x="978597" y="2633869"/>
                    <a:pt x="978051" y="2635266"/>
                    <a:pt x="977530" y="2636650"/>
                  </a:cubicBezTo>
                  <a:cubicBezTo>
                    <a:pt x="977009" y="2638060"/>
                    <a:pt x="976514" y="2639457"/>
                    <a:pt x="976031" y="2640829"/>
                  </a:cubicBezTo>
                  <a:cubicBezTo>
                    <a:pt x="941119" y="2634199"/>
                    <a:pt x="907210" y="2623112"/>
                    <a:pt x="875092" y="2607822"/>
                  </a:cubicBezTo>
                  <a:cubicBezTo>
                    <a:pt x="883614" y="2580631"/>
                    <a:pt x="890700" y="2533374"/>
                    <a:pt x="864907" y="2518515"/>
                  </a:cubicBezTo>
                  <a:cubicBezTo>
                    <a:pt x="859827" y="2515569"/>
                    <a:pt x="854048" y="2514299"/>
                    <a:pt x="847876" y="2514299"/>
                  </a:cubicBezTo>
                  <a:cubicBezTo>
                    <a:pt x="825727" y="2514286"/>
                    <a:pt x="798587" y="2530809"/>
                    <a:pt x="780884" y="2546214"/>
                  </a:cubicBezTo>
                  <a:cubicBezTo>
                    <a:pt x="753972" y="2522948"/>
                    <a:pt x="730160" y="2496417"/>
                    <a:pt x="709992" y="2467220"/>
                  </a:cubicBezTo>
                  <a:cubicBezTo>
                    <a:pt x="711237" y="2466064"/>
                    <a:pt x="712520" y="2464858"/>
                    <a:pt x="713815" y="2463575"/>
                  </a:cubicBezTo>
                  <a:cubicBezTo>
                    <a:pt x="714856" y="2462559"/>
                    <a:pt x="715898" y="2461505"/>
                    <a:pt x="716952" y="2460426"/>
                  </a:cubicBezTo>
                  <a:cubicBezTo>
                    <a:pt x="736751" y="2440030"/>
                    <a:pt x="758989" y="2407759"/>
                    <a:pt x="745755" y="2384797"/>
                  </a:cubicBezTo>
                  <a:cubicBezTo>
                    <a:pt x="736624" y="2368986"/>
                    <a:pt x="713726" y="2363690"/>
                    <a:pt x="690752" y="2363690"/>
                  </a:cubicBezTo>
                  <a:cubicBezTo>
                    <a:pt x="679677" y="2363690"/>
                    <a:pt x="668603" y="2364922"/>
                    <a:pt x="659027" y="2366789"/>
                  </a:cubicBezTo>
                  <a:cubicBezTo>
                    <a:pt x="647381" y="2333286"/>
                    <a:pt x="640054" y="2298387"/>
                    <a:pt x="637247" y="2262878"/>
                  </a:cubicBezTo>
                  <a:cubicBezTo>
                    <a:pt x="638542" y="2262586"/>
                    <a:pt x="639876" y="2262268"/>
                    <a:pt x="641235" y="2261925"/>
                  </a:cubicBezTo>
                  <a:cubicBezTo>
                    <a:pt x="642543" y="2261595"/>
                    <a:pt x="643876" y="2261252"/>
                    <a:pt x="645235" y="2260884"/>
                  </a:cubicBezTo>
                  <a:cubicBezTo>
                    <a:pt x="646543" y="2260516"/>
                    <a:pt x="647877" y="2260135"/>
                    <a:pt x="649223" y="2259728"/>
                  </a:cubicBezTo>
                  <a:cubicBezTo>
                    <a:pt x="650556" y="2259334"/>
                    <a:pt x="651890" y="2258928"/>
                    <a:pt x="653236" y="2258484"/>
                  </a:cubicBezTo>
                  <a:cubicBezTo>
                    <a:pt x="654570" y="2258064"/>
                    <a:pt x="655903" y="2257607"/>
                    <a:pt x="657249" y="2257137"/>
                  </a:cubicBezTo>
                  <a:cubicBezTo>
                    <a:pt x="658583" y="2256680"/>
                    <a:pt x="659916" y="2256185"/>
                    <a:pt x="661263" y="2255677"/>
                  </a:cubicBezTo>
                  <a:cubicBezTo>
                    <a:pt x="662609" y="2255182"/>
                    <a:pt x="663942" y="2254648"/>
                    <a:pt x="665276" y="2254102"/>
                  </a:cubicBezTo>
                  <a:cubicBezTo>
                    <a:pt x="666622" y="2253569"/>
                    <a:pt x="667956" y="2252997"/>
                    <a:pt x="669289" y="2252413"/>
                  </a:cubicBezTo>
                  <a:cubicBezTo>
                    <a:pt x="670622" y="2251816"/>
                    <a:pt x="671956" y="2251206"/>
                    <a:pt x="673290" y="2250571"/>
                  </a:cubicBezTo>
                  <a:cubicBezTo>
                    <a:pt x="674623" y="2249936"/>
                    <a:pt x="675956" y="2249276"/>
                    <a:pt x="677265" y="2248590"/>
                  </a:cubicBezTo>
                  <a:cubicBezTo>
                    <a:pt x="678611" y="2247892"/>
                    <a:pt x="679944" y="2247168"/>
                    <a:pt x="681240" y="2246419"/>
                  </a:cubicBezTo>
                  <a:cubicBezTo>
                    <a:pt x="682586" y="2245657"/>
                    <a:pt x="683907" y="2244856"/>
                    <a:pt x="685202" y="2244044"/>
                  </a:cubicBezTo>
                  <a:cubicBezTo>
                    <a:pt x="686536" y="2243193"/>
                    <a:pt x="687844" y="2242329"/>
                    <a:pt x="689114" y="2241427"/>
                  </a:cubicBezTo>
                  <a:cubicBezTo>
                    <a:pt x="690447" y="2240475"/>
                    <a:pt x="691743" y="2239497"/>
                    <a:pt x="692987" y="2238494"/>
                  </a:cubicBezTo>
                  <a:cubicBezTo>
                    <a:pt x="694321" y="2237414"/>
                    <a:pt x="695591" y="2236309"/>
                    <a:pt x="696797" y="2235166"/>
                  </a:cubicBezTo>
                  <a:cubicBezTo>
                    <a:pt x="697826" y="2234189"/>
                    <a:pt x="698804" y="2233198"/>
                    <a:pt x="699731" y="2232169"/>
                  </a:cubicBezTo>
                  <a:cubicBezTo>
                    <a:pt x="705687" y="2225603"/>
                    <a:pt x="709396" y="2218021"/>
                    <a:pt x="709396" y="2209436"/>
                  </a:cubicBezTo>
                  <a:cubicBezTo>
                    <a:pt x="709421" y="2182385"/>
                    <a:pt x="671740" y="2160211"/>
                    <a:pt x="643318" y="2150470"/>
                  </a:cubicBezTo>
                  <a:cubicBezTo>
                    <a:pt x="649972" y="2115571"/>
                    <a:pt x="661059" y="2081675"/>
                    <a:pt x="676350" y="2049556"/>
                  </a:cubicBezTo>
                  <a:cubicBezTo>
                    <a:pt x="676922" y="2049734"/>
                    <a:pt x="677493" y="2049912"/>
                    <a:pt x="678077" y="2050090"/>
                  </a:cubicBezTo>
                  <a:cubicBezTo>
                    <a:pt x="678674" y="2050267"/>
                    <a:pt x="679284" y="2050445"/>
                    <a:pt x="679894" y="2050623"/>
                  </a:cubicBezTo>
                  <a:cubicBezTo>
                    <a:pt x="680503" y="2050801"/>
                    <a:pt x="681125" y="2050979"/>
                    <a:pt x="681748" y="2051156"/>
                  </a:cubicBezTo>
                  <a:cubicBezTo>
                    <a:pt x="682383" y="2051334"/>
                    <a:pt x="683018" y="2051499"/>
                    <a:pt x="683665" y="2051677"/>
                  </a:cubicBezTo>
                  <a:cubicBezTo>
                    <a:pt x="684326" y="2051842"/>
                    <a:pt x="684986" y="2052020"/>
                    <a:pt x="685659" y="2052185"/>
                  </a:cubicBezTo>
                  <a:cubicBezTo>
                    <a:pt x="686320" y="2052363"/>
                    <a:pt x="687006" y="2052528"/>
                    <a:pt x="687691" y="2052693"/>
                  </a:cubicBezTo>
                  <a:cubicBezTo>
                    <a:pt x="688377" y="2052858"/>
                    <a:pt x="689076" y="2053023"/>
                    <a:pt x="689787" y="2053188"/>
                  </a:cubicBezTo>
                  <a:cubicBezTo>
                    <a:pt x="690498" y="2053353"/>
                    <a:pt x="691222" y="2053519"/>
                    <a:pt x="691946" y="2053671"/>
                  </a:cubicBezTo>
                  <a:cubicBezTo>
                    <a:pt x="692682" y="2053836"/>
                    <a:pt x="693419" y="2053988"/>
                    <a:pt x="694156" y="2054141"/>
                  </a:cubicBezTo>
                  <a:cubicBezTo>
                    <a:pt x="694905" y="2054293"/>
                    <a:pt x="695667" y="2054446"/>
                    <a:pt x="696429" y="2054585"/>
                  </a:cubicBezTo>
                  <a:cubicBezTo>
                    <a:pt x="697204" y="2054738"/>
                    <a:pt x="697978" y="2054878"/>
                    <a:pt x="698753" y="2055017"/>
                  </a:cubicBezTo>
                  <a:cubicBezTo>
                    <a:pt x="699553" y="2055157"/>
                    <a:pt x="700341" y="2055284"/>
                    <a:pt x="701140" y="2055424"/>
                  </a:cubicBezTo>
                  <a:cubicBezTo>
                    <a:pt x="701953" y="2055551"/>
                    <a:pt x="702766" y="2055678"/>
                    <a:pt x="703592" y="2055805"/>
                  </a:cubicBezTo>
                  <a:cubicBezTo>
                    <a:pt x="704417" y="2055919"/>
                    <a:pt x="705255" y="2056033"/>
                    <a:pt x="706081" y="2056147"/>
                  </a:cubicBezTo>
                  <a:cubicBezTo>
                    <a:pt x="706932" y="2056262"/>
                    <a:pt x="707783" y="2056363"/>
                    <a:pt x="708646" y="2056465"/>
                  </a:cubicBezTo>
                  <a:cubicBezTo>
                    <a:pt x="709510" y="2056554"/>
                    <a:pt x="710373" y="2056656"/>
                    <a:pt x="711250" y="2056732"/>
                  </a:cubicBezTo>
                  <a:cubicBezTo>
                    <a:pt x="712139" y="2056821"/>
                    <a:pt x="713028" y="2056897"/>
                    <a:pt x="713917" y="2056960"/>
                  </a:cubicBezTo>
                  <a:cubicBezTo>
                    <a:pt x="714831" y="2057037"/>
                    <a:pt x="715733" y="2057100"/>
                    <a:pt x="716634" y="2057151"/>
                  </a:cubicBezTo>
                  <a:cubicBezTo>
                    <a:pt x="717562" y="2057202"/>
                    <a:pt x="718489" y="2057240"/>
                    <a:pt x="719416" y="2057265"/>
                  </a:cubicBezTo>
                  <a:cubicBezTo>
                    <a:pt x="720356" y="2057303"/>
                    <a:pt x="721308" y="2057316"/>
                    <a:pt x="722248" y="2057329"/>
                  </a:cubicBezTo>
                  <a:cubicBezTo>
                    <a:pt x="722553" y="2057329"/>
                    <a:pt x="722883" y="2057329"/>
                    <a:pt x="723188" y="2057329"/>
                  </a:cubicBezTo>
                  <a:cubicBezTo>
                    <a:pt x="723835" y="2057329"/>
                    <a:pt x="724483" y="2057329"/>
                    <a:pt x="725131" y="2057316"/>
                  </a:cubicBezTo>
                  <a:cubicBezTo>
                    <a:pt x="726109" y="2057303"/>
                    <a:pt x="727099" y="2057265"/>
                    <a:pt x="728077" y="2057214"/>
                  </a:cubicBezTo>
                  <a:cubicBezTo>
                    <a:pt x="729081" y="2057163"/>
                    <a:pt x="730071" y="2057100"/>
                    <a:pt x="731062" y="2057024"/>
                  </a:cubicBezTo>
                  <a:cubicBezTo>
                    <a:pt x="732090" y="2056935"/>
                    <a:pt x="733106" y="2056833"/>
                    <a:pt x="734122" y="2056719"/>
                  </a:cubicBezTo>
                  <a:cubicBezTo>
                    <a:pt x="735164" y="2056592"/>
                    <a:pt x="736193" y="2056452"/>
                    <a:pt x="737221" y="2056287"/>
                  </a:cubicBezTo>
                  <a:cubicBezTo>
                    <a:pt x="739977" y="2055830"/>
                    <a:pt x="742657" y="2055220"/>
                    <a:pt x="745197" y="2054446"/>
                  </a:cubicBezTo>
                  <a:cubicBezTo>
                    <a:pt x="747546" y="2053722"/>
                    <a:pt x="749794" y="2052858"/>
                    <a:pt x="751902" y="2051817"/>
                  </a:cubicBezTo>
                  <a:cubicBezTo>
                    <a:pt x="753757" y="2050902"/>
                    <a:pt x="755522" y="2049861"/>
                    <a:pt x="757160" y="2048680"/>
                  </a:cubicBezTo>
                  <a:cubicBezTo>
                    <a:pt x="758646" y="2047601"/>
                    <a:pt x="760030" y="2046407"/>
                    <a:pt x="761300" y="2045086"/>
                  </a:cubicBezTo>
                  <a:cubicBezTo>
                    <a:pt x="761796" y="2044578"/>
                    <a:pt x="762253" y="2044070"/>
                    <a:pt x="762710" y="2043524"/>
                  </a:cubicBezTo>
                  <a:cubicBezTo>
                    <a:pt x="763777" y="2042241"/>
                    <a:pt x="764755" y="2040857"/>
                    <a:pt x="765618" y="2039358"/>
                  </a:cubicBezTo>
                  <a:cubicBezTo>
                    <a:pt x="779144" y="2015952"/>
                    <a:pt x="757617" y="1977954"/>
                    <a:pt x="737920" y="1955322"/>
                  </a:cubicBezTo>
                  <a:cubicBezTo>
                    <a:pt x="745159" y="1946953"/>
                    <a:pt x="752715" y="1938876"/>
                    <a:pt x="760576" y="1931116"/>
                  </a:cubicBezTo>
                  <a:cubicBezTo>
                    <a:pt x="761199" y="1930507"/>
                    <a:pt x="761821" y="1929897"/>
                    <a:pt x="762456" y="1929287"/>
                  </a:cubicBezTo>
                  <a:cubicBezTo>
                    <a:pt x="763078" y="1928665"/>
                    <a:pt x="763713" y="1928056"/>
                    <a:pt x="764348" y="1927446"/>
                  </a:cubicBezTo>
                  <a:cubicBezTo>
                    <a:pt x="764983" y="1926836"/>
                    <a:pt x="765618" y="1926227"/>
                    <a:pt x="766253" y="1925617"/>
                  </a:cubicBezTo>
                  <a:cubicBezTo>
                    <a:pt x="766901" y="1925008"/>
                    <a:pt x="767549" y="1924398"/>
                    <a:pt x="768196" y="1923788"/>
                  </a:cubicBezTo>
                  <a:cubicBezTo>
                    <a:pt x="768831" y="1923192"/>
                    <a:pt x="769479" y="1922595"/>
                    <a:pt x="770114" y="1921998"/>
                  </a:cubicBezTo>
                  <a:cubicBezTo>
                    <a:pt x="770762" y="1921388"/>
                    <a:pt x="771422" y="1920791"/>
                    <a:pt x="772070" y="1920194"/>
                  </a:cubicBezTo>
                  <a:cubicBezTo>
                    <a:pt x="772730" y="1919585"/>
                    <a:pt x="773391" y="1918988"/>
                    <a:pt x="774051" y="1918391"/>
                  </a:cubicBezTo>
                  <a:cubicBezTo>
                    <a:pt x="774711" y="1917807"/>
                    <a:pt x="775359" y="1917210"/>
                    <a:pt x="776020" y="1916638"/>
                  </a:cubicBezTo>
                  <a:cubicBezTo>
                    <a:pt x="776680" y="1916041"/>
                    <a:pt x="777353" y="1915445"/>
                    <a:pt x="778026" y="1914848"/>
                  </a:cubicBezTo>
                  <a:cubicBezTo>
                    <a:pt x="778674" y="1914276"/>
                    <a:pt x="779334" y="1913692"/>
                    <a:pt x="780007" y="1913121"/>
                  </a:cubicBezTo>
                  <a:cubicBezTo>
                    <a:pt x="781036" y="1912231"/>
                    <a:pt x="782065" y="1911330"/>
                    <a:pt x="783106" y="1910453"/>
                  </a:cubicBezTo>
                  <a:cubicBezTo>
                    <a:pt x="784440" y="1909310"/>
                    <a:pt x="785798" y="1908168"/>
                    <a:pt x="787157" y="1907037"/>
                  </a:cubicBezTo>
                  <a:cubicBezTo>
                    <a:pt x="788504" y="1905920"/>
                    <a:pt x="789875" y="1904789"/>
                    <a:pt x="791247" y="1903684"/>
                  </a:cubicBezTo>
                  <a:cubicBezTo>
                    <a:pt x="792618" y="1902580"/>
                    <a:pt x="793990" y="1901475"/>
                    <a:pt x="795374" y="1900382"/>
                  </a:cubicBezTo>
                  <a:cubicBezTo>
                    <a:pt x="796759" y="1899290"/>
                    <a:pt x="798156" y="1898198"/>
                    <a:pt x="799553" y="1897131"/>
                  </a:cubicBezTo>
                  <a:cubicBezTo>
                    <a:pt x="800950" y="1896052"/>
                    <a:pt x="802359" y="1894985"/>
                    <a:pt x="803769" y="1893918"/>
                  </a:cubicBezTo>
                  <a:cubicBezTo>
                    <a:pt x="805179" y="1892864"/>
                    <a:pt x="806601" y="1891810"/>
                    <a:pt x="808023" y="1890769"/>
                  </a:cubicBezTo>
                  <a:cubicBezTo>
                    <a:pt x="809459" y="1889727"/>
                    <a:pt x="810881" y="1888698"/>
                    <a:pt x="812316" y="1887682"/>
                  </a:cubicBezTo>
                  <a:cubicBezTo>
                    <a:pt x="813764" y="1886654"/>
                    <a:pt x="815199" y="1885651"/>
                    <a:pt x="816659" y="1884635"/>
                  </a:cubicBezTo>
                  <a:cubicBezTo>
                    <a:pt x="816748" y="1884584"/>
                    <a:pt x="816837" y="1884520"/>
                    <a:pt x="816926" y="1884457"/>
                  </a:cubicBezTo>
                  <a:cubicBezTo>
                    <a:pt x="821371" y="1889346"/>
                    <a:pt x="827658" y="1895798"/>
                    <a:pt x="835024" y="1902008"/>
                  </a:cubicBezTo>
                  <a:cubicBezTo>
                    <a:pt x="838059" y="1904586"/>
                    <a:pt x="841285" y="1907113"/>
                    <a:pt x="844638" y="1909476"/>
                  </a:cubicBezTo>
                  <a:cubicBezTo>
                    <a:pt x="846987" y="1911127"/>
                    <a:pt x="849400" y="1912701"/>
                    <a:pt x="851864" y="1914162"/>
                  </a:cubicBezTo>
                  <a:cubicBezTo>
                    <a:pt x="853820" y="1915318"/>
                    <a:pt x="855801" y="1916384"/>
                    <a:pt x="857807" y="1917362"/>
                  </a:cubicBezTo>
                  <a:cubicBezTo>
                    <a:pt x="859484" y="1918175"/>
                    <a:pt x="861173" y="1918924"/>
                    <a:pt x="862875" y="1919585"/>
                  </a:cubicBezTo>
                  <a:cubicBezTo>
                    <a:pt x="864335" y="1920156"/>
                    <a:pt x="865808" y="1920677"/>
                    <a:pt x="867294" y="1921109"/>
                  </a:cubicBezTo>
                  <a:cubicBezTo>
                    <a:pt x="868577" y="1921503"/>
                    <a:pt x="869872" y="1921833"/>
                    <a:pt x="871168" y="1922099"/>
                  </a:cubicBezTo>
                  <a:cubicBezTo>
                    <a:pt x="872311" y="1922341"/>
                    <a:pt x="873441" y="1922531"/>
                    <a:pt x="874571" y="1922684"/>
                  </a:cubicBezTo>
                  <a:cubicBezTo>
                    <a:pt x="875562" y="1922798"/>
                    <a:pt x="876553" y="1922887"/>
                    <a:pt x="877543" y="1922938"/>
                  </a:cubicBezTo>
                  <a:cubicBezTo>
                    <a:pt x="878114" y="1922963"/>
                    <a:pt x="878673" y="1922976"/>
                    <a:pt x="879245" y="1922976"/>
                  </a:cubicBezTo>
                  <a:cubicBezTo>
                    <a:pt x="879512" y="1922976"/>
                    <a:pt x="879778" y="1922976"/>
                    <a:pt x="880058" y="1922976"/>
                  </a:cubicBezTo>
                  <a:cubicBezTo>
                    <a:pt x="880718" y="1922950"/>
                    <a:pt x="881391" y="1922925"/>
                    <a:pt x="882052" y="1922861"/>
                  </a:cubicBezTo>
                  <a:cubicBezTo>
                    <a:pt x="882496" y="1922823"/>
                    <a:pt x="882941" y="1922785"/>
                    <a:pt x="883385" y="1922722"/>
                  </a:cubicBezTo>
                  <a:cubicBezTo>
                    <a:pt x="883474" y="1922709"/>
                    <a:pt x="883563" y="1922696"/>
                    <a:pt x="883652" y="1922684"/>
                  </a:cubicBezTo>
                  <a:cubicBezTo>
                    <a:pt x="887474" y="1922176"/>
                    <a:pt x="891234" y="1920944"/>
                    <a:pt x="894840" y="1918861"/>
                  </a:cubicBezTo>
                  <a:cubicBezTo>
                    <a:pt x="897584" y="1917273"/>
                    <a:pt x="899971" y="1915191"/>
                    <a:pt x="902067" y="1912689"/>
                  </a:cubicBezTo>
                  <a:cubicBezTo>
                    <a:pt x="916621" y="1895264"/>
                    <a:pt x="916443" y="1857977"/>
                    <a:pt x="916329" y="1834508"/>
                  </a:cubicBezTo>
                  <a:lnTo>
                    <a:pt x="915326" y="1713185"/>
                  </a:lnTo>
                  <a:lnTo>
                    <a:pt x="913814" y="1711432"/>
                  </a:lnTo>
                  <a:cubicBezTo>
                    <a:pt x="894117" y="1688369"/>
                    <a:pt x="853337" y="1652085"/>
                    <a:pt x="819288" y="1652085"/>
                  </a:cubicBezTo>
                  <a:cubicBezTo>
                    <a:pt x="812189" y="1652085"/>
                    <a:pt x="805382" y="1653673"/>
                    <a:pt x="799121" y="1657267"/>
                  </a:cubicBezTo>
                  <a:cubicBezTo>
                    <a:pt x="796873" y="1658575"/>
                    <a:pt x="794777" y="1660086"/>
                    <a:pt x="792847" y="1661788"/>
                  </a:cubicBezTo>
                  <a:cubicBezTo>
                    <a:pt x="791717" y="1662791"/>
                    <a:pt x="790637" y="1663858"/>
                    <a:pt x="789608" y="1664976"/>
                  </a:cubicBezTo>
                  <a:cubicBezTo>
                    <a:pt x="788542" y="1666144"/>
                    <a:pt x="787538" y="1667363"/>
                    <a:pt x="786586" y="1668659"/>
                  </a:cubicBezTo>
                  <a:cubicBezTo>
                    <a:pt x="785722" y="1669802"/>
                    <a:pt x="784910" y="1671008"/>
                    <a:pt x="784135" y="1672253"/>
                  </a:cubicBezTo>
                  <a:cubicBezTo>
                    <a:pt x="783424" y="1673396"/>
                    <a:pt x="782751" y="1674590"/>
                    <a:pt x="782103" y="1675809"/>
                  </a:cubicBezTo>
                  <a:cubicBezTo>
                    <a:pt x="781506" y="1676939"/>
                    <a:pt x="780934" y="1678108"/>
                    <a:pt x="780388" y="1679314"/>
                  </a:cubicBezTo>
                  <a:cubicBezTo>
                    <a:pt x="779868" y="1680432"/>
                    <a:pt x="779385" y="1681600"/>
                    <a:pt x="778915" y="1682781"/>
                  </a:cubicBezTo>
                  <a:cubicBezTo>
                    <a:pt x="778471" y="1683899"/>
                    <a:pt x="778051" y="1685042"/>
                    <a:pt x="777658" y="1686210"/>
                  </a:cubicBezTo>
                  <a:cubicBezTo>
                    <a:pt x="777277" y="1687328"/>
                    <a:pt x="776909" y="1688458"/>
                    <a:pt x="776566" y="1689601"/>
                  </a:cubicBezTo>
                  <a:cubicBezTo>
                    <a:pt x="776236" y="1690706"/>
                    <a:pt x="775918" y="1691836"/>
                    <a:pt x="775626" y="1692966"/>
                  </a:cubicBezTo>
                  <a:cubicBezTo>
                    <a:pt x="775346" y="1694059"/>
                    <a:pt x="775067" y="1695176"/>
                    <a:pt x="774813" y="1696294"/>
                  </a:cubicBezTo>
                  <a:cubicBezTo>
                    <a:pt x="774572" y="1697386"/>
                    <a:pt x="774343" y="1698478"/>
                    <a:pt x="774127" y="1699583"/>
                  </a:cubicBezTo>
                  <a:cubicBezTo>
                    <a:pt x="773911" y="1700663"/>
                    <a:pt x="773708" y="1701755"/>
                    <a:pt x="773530" y="1702860"/>
                  </a:cubicBezTo>
                  <a:cubicBezTo>
                    <a:pt x="773340" y="1703927"/>
                    <a:pt x="773175" y="1704993"/>
                    <a:pt x="773022" y="1706086"/>
                  </a:cubicBezTo>
                  <a:cubicBezTo>
                    <a:pt x="772870" y="1707140"/>
                    <a:pt x="772730" y="1708207"/>
                    <a:pt x="772603" y="1709286"/>
                  </a:cubicBezTo>
                  <a:cubicBezTo>
                    <a:pt x="772476" y="1710327"/>
                    <a:pt x="772362" y="1711382"/>
                    <a:pt x="772248" y="1712448"/>
                  </a:cubicBezTo>
                  <a:cubicBezTo>
                    <a:pt x="772146" y="1713477"/>
                    <a:pt x="772057" y="1714518"/>
                    <a:pt x="771968" y="1715572"/>
                  </a:cubicBezTo>
                  <a:cubicBezTo>
                    <a:pt x="771892" y="1716601"/>
                    <a:pt x="771816" y="1717630"/>
                    <a:pt x="771752" y="1718671"/>
                  </a:cubicBezTo>
                  <a:cubicBezTo>
                    <a:pt x="771689" y="1719687"/>
                    <a:pt x="771638" y="1720703"/>
                    <a:pt x="771600" y="1721732"/>
                  </a:cubicBezTo>
                  <a:cubicBezTo>
                    <a:pt x="771549" y="1722735"/>
                    <a:pt x="771511" y="1723751"/>
                    <a:pt x="771486" y="1724755"/>
                  </a:cubicBezTo>
                  <a:cubicBezTo>
                    <a:pt x="771460" y="1725758"/>
                    <a:pt x="771448" y="1726748"/>
                    <a:pt x="771435" y="1727752"/>
                  </a:cubicBezTo>
                  <a:cubicBezTo>
                    <a:pt x="771422" y="1728730"/>
                    <a:pt x="771409" y="1729720"/>
                    <a:pt x="771422" y="1730711"/>
                  </a:cubicBezTo>
                  <a:cubicBezTo>
                    <a:pt x="771422" y="1731676"/>
                    <a:pt x="771435" y="1732654"/>
                    <a:pt x="771448" y="1733632"/>
                  </a:cubicBezTo>
                  <a:cubicBezTo>
                    <a:pt x="771460" y="1734597"/>
                    <a:pt x="771486" y="1735550"/>
                    <a:pt x="771524" y="1736515"/>
                  </a:cubicBezTo>
                  <a:cubicBezTo>
                    <a:pt x="771549" y="1737467"/>
                    <a:pt x="771587" y="1738420"/>
                    <a:pt x="771625" y="1739359"/>
                  </a:cubicBezTo>
                  <a:cubicBezTo>
                    <a:pt x="771664" y="1740299"/>
                    <a:pt x="771714" y="1741239"/>
                    <a:pt x="771765" y="1742179"/>
                  </a:cubicBezTo>
                  <a:cubicBezTo>
                    <a:pt x="771816" y="1743106"/>
                    <a:pt x="771879" y="1744033"/>
                    <a:pt x="771943" y="1744947"/>
                  </a:cubicBezTo>
                  <a:cubicBezTo>
                    <a:pt x="772006" y="1745862"/>
                    <a:pt x="772070" y="1746776"/>
                    <a:pt x="772146" y="1747691"/>
                  </a:cubicBezTo>
                  <a:cubicBezTo>
                    <a:pt x="772222" y="1748592"/>
                    <a:pt x="772299" y="1749494"/>
                    <a:pt x="772387" y="1750383"/>
                  </a:cubicBezTo>
                  <a:cubicBezTo>
                    <a:pt x="772463" y="1751272"/>
                    <a:pt x="772552" y="1752161"/>
                    <a:pt x="772641" y="1753050"/>
                  </a:cubicBezTo>
                  <a:cubicBezTo>
                    <a:pt x="772743" y="1753926"/>
                    <a:pt x="772832" y="1754803"/>
                    <a:pt x="772933" y="1755666"/>
                  </a:cubicBezTo>
                  <a:cubicBezTo>
                    <a:pt x="773035" y="1756530"/>
                    <a:pt x="773137" y="1757393"/>
                    <a:pt x="773251" y="1758244"/>
                  </a:cubicBezTo>
                  <a:cubicBezTo>
                    <a:pt x="773353" y="1759108"/>
                    <a:pt x="773467" y="1759959"/>
                    <a:pt x="773581" y="1760797"/>
                  </a:cubicBezTo>
                  <a:cubicBezTo>
                    <a:pt x="773695" y="1761635"/>
                    <a:pt x="773822" y="1762473"/>
                    <a:pt x="773949" y="1763299"/>
                  </a:cubicBezTo>
                  <a:cubicBezTo>
                    <a:pt x="774064" y="1764125"/>
                    <a:pt x="774191" y="1764950"/>
                    <a:pt x="774330" y="1765763"/>
                  </a:cubicBezTo>
                  <a:cubicBezTo>
                    <a:pt x="774458" y="1766576"/>
                    <a:pt x="774584" y="1767376"/>
                    <a:pt x="774724" y="1768176"/>
                  </a:cubicBezTo>
                  <a:cubicBezTo>
                    <a:pt x="774864" y="1768976"/>
                    <a:pt x="775004" y="1769776"/>
                    <a:pt x="775143" y="1770551"/>
                  </a:cubicBezTo>
                  <a:cubicBezTo>
                    <a:pt x="775296" y="1771338"/>
                    <a:pt x="775435" y="1772125"/>
                    <a:pt x="775588" y="1772900"/>
                  </a:cubicBezTo>
                  <a:cubicBezTo>
                    <a:pt x="775740" y="1773662"/>
                    <a:pt x="775893" y="1774437"/>
                    <a:pt x="776045" y="1775186"/>
                  </a:cubicBezTo>
                  <a:cubicBezTo>
                    <a:pt x="728852" y="1791747"/>
                    <a:pt x="679677" y="1802034"/>
                    <a:pt x="629729" y="1805818"/>
                  </a:cubicBezTo>
                  <a:cubicBezTo>
                    <a:pt x="621778" y="1768760"/>
                    <a:pt x="598398" y="1707165"/>
                    <a:pt x="558583" y="1707165"/>
                  </a:cubicBezTo>
                  <a:cubicBezTo>
                    <a:pt x="545693" y="1707165"/>
                    <a:pt x="533615" y="1713744"/>
                    <a:pt x="522833" y="1723954"/>
                  </a:cubicBezTo>
                  <a:cubicBezTo>
                    <a:pt x="522528" y="1724234"/>
                    <a:pt x="522223" y="1724526"/>
                    <a:pt x="521919" y="1724818"/>
                  </a:cubicBezTo>
                  <a:cubicBezTo>
                    <a:pt x="520674" y="1726025"/>
                    <a:pt x="519442" y="1727295"/>
                    <a:pt x="518236" y="1728590"/>
                  </a:cubicBezTo>
                  <a:cubicBezTo>
                    <a:pt x="517080" y="1729834"/>
                    <a:pt x="515950" y="1731117"/>
                    <a:pt x="514819" y="1732425"/>
                  </a:cubicBezTo>
                  <a:cubicBezTo>
                    <a:pt x="513753" y="1733695"/>
                    <a:pt x="512686" y="1734991"/>
                    <a:pt x="511644" y="1736312"/>
                  </a:cubicBezTo>
                  <a:cubicBezTo>
                    <a:pt x="510641" y="1737594"/>
                    <a:pt x="509638" y="1738902"/>
                    <a:pt x="508660" y="1740236"/>
                  </a:cubicBezTo>
                  <a:cubicBezTo>
                    <a:pt x="507707" y="1741544"/>
                    <a:pt x="506768" y="1742865"/>
                    <a:pt x="505853" y="1744211"/>
                  </a:cubicBezTo>
                  <a:cubicBezTo>
                    <a:pt x="504951" y="1745519"/>
                    <a:pt x="504062" y="1746853"/>
                    <a:pt x="503186" y="1748211"/>
                  </a:cubicBezTo>
                  <a:cubicBezTo>
                    <a:pt x="502322" y="1749545"/>
                    <a:pt x="501484" y="1750891"/>
                    <a:pt x="500659" y="1752237"/>
                  </a:cubicBezTo>
                  <a:cubicBezTo>
                    <a:pt x="499833" y="1753584"/>
                    <a:pt x="499033" y="1754930"/>
                    <a:pt x="498246" y="1756301"/>
                  </a:cubicBezTo>
                  <a:cubicBezTo>
                    <a:pt x="497471" y="1757647"/>
                    <a:pt x="496709" y="1759006"/>
                    <a:pt x="495960" y="1760365"/>
                  </a:cubicBezTo>
                  <a:cubicBezTo>
                    <a:pt x="495211" y="1761724"/>
                    <a:pt x="494487" y="1763096"/>
                    <a:pt x="493775" y="1764467"/>
                  </a:cubicBezTo>
                  <a:cubicBezTo>
                    <a:pt x="493064" y="1765826"/>
                    <a:pt x="492366" y="1767198"/>
                    <a:pt x="491693" y="1768569"/>
                  </a:cubicBezTo>
                  <a:cubicBezTo>
                    <a:pt x="491020" y="1769954"/>
                    <a:pt x="490346" y="1771325"/>
                    <a:pt x="489699" y="1772710"/>
                  </a:cubicBezTo>
                  <a:cubicBezTo>
                    <a:pt x="489064" y="1774081"/>
                    <a:pt x="488429" y="1775465"/>
                    <a:pt x="487819" y="1776837"/>
                  </a:cubicBezTo>
                  <a:cubicBezTo>
                    <a:pt x="487197" y="1778234"/>
                    <a:pt x="486600" y="1779618"/>
                    <a:pt x="486016" y="1780990"/>
                  </a:cubicBezTo>
                  <a:cubicBezTo>
                    <a:pt x="485419" y="1782387"/>
                    <a:pt x="484847" y="1783771"/>
                    <a:pt x="484301" y="1785156"/>
                  </a:cubicBezTo>
                  <a:cubicBezTo>
                    <a:pt x="483742" y="1786553"/>
                    <a:pt x="483196" y="1787950"/>
                    <a:pt x="482676" y="1789321"/>
                  </a:cubicBezTo>
                  <a:cubicBezTo>
                    <a:pt x="482142" y="1790731"/>
                    <a:pt x="481634" y="1792128"/>
                    <a:pt x="481152" y="1793512"/>
                  </a:cubicBezTo>
                  <a:cubicBezTo>
                    <a:pt x="480644" y="1794922"/>
                    <a:pt x="480161" y="1796319"/>
                    <a:pt x="479704" y="1797703"/>
                  </a:cubicBezTo>
                  <a:cubicBezTo>
                    <a:pt x="430479" y="1788521"/>
                    <a:pt x="382727" y="1772900"/>
                    <a:pt x="337578" y="1751221"/>
                  </a:cubicBezTo>
                  <a:cubicBezTo>
                    <a:pt x="349262" y="1715128"/>
                    <a:pt x="359880" y="1650041"/>
                    <a:pt x="325348" y="1630114"/>
                  </a:cubicBezTo>
                  <a:cubicBezTo>
                    <a:pt x="318719" y="1626279"/>
                    <a:pt x="311150" y="1624603"/>
                    <a:pt x="303085" y="1624603"/>
                  </a:cubicBezTo>
                  <a:cubicBezTo>
                    <a:pt x="272961" y="1624603"/>
                    <a:pt x="235611" y="1647882"/>
                    <a:pt x="211836" y="1668989"/>
                  </a:cubicBezTo>
                  <a:cubicBezTo>
                    <a:pt x="173813" y="1636350"/>
                    <a:pt x="140272" y="1598974"/>
                    <a:pt x="112014" y="1557763"/>
                  </a:cubicBezTo>
                  <a:cubicBezTo>
                    <a:pt x="113284" y="1556607"/>
                    <a:pt x="114580" y="1555413"/>
                    <a:pt x="115888" y="1554169"/>
                  </a:cubicBezTo>
                  <a:cubicBezTo>
                    <a:pt x="117132" y="1552975"/>
                    <a:pt x="118402" y="1551743"/>
                    <a:pt x="119685" y="1550473"/>
                  </a:cubicBezTo>
                  <a:cubicBezTo>
                    <a:pt x="120536" y="1549635"/>
                    <a:pt x="121400" y="1548771"/>
                    <a:pt x="122263" y="1547895"/>
                  </a:cubicBezTo>
                  <a:cubicBezTo>
                    <a:pt x="148959" y="1520641"/>
                    <a:pt x="179413" y="1477207"/>
                    <a:pt x="161862" y="1446778"/>
                  </a:cubicBezTo>
                  <a:cubicBezTo>
                    <a:pt x="149898" y="1426039"/>
                    <a:pt x="119647" y="1419079"/>
                    <a:pt x="89091" y="1419079"/>
                  </a:cubicBezTo>
                  <a:cubicBezTo>
                    <a:pt x="73318" y="1419079"/>
                    <a:pt x="57455" y="1420933"/>
                    <a:pt x="43993" y="1423714"/>
                  </a:cubicBezTo>
                  <a:cubicBezTo>
                    <a:pt x="27420" y="1376598"/>
                    <a:pt x="17120" y="1327436"/>
                    <a:pt x="13323" y="1277386"/>
                  </a:cubicBezTo>
                  <a:cubicBezTo>
                    <a:pt x="14618" y="1277119"/>
                    <a:pt x="15939" y="1276814"/>
                    <a:pt x="17285" y="1276497"/>
                  </a:cubicBezTo>
                  <a:cubicBezTo>
                    <a:pt x="18594" y="1276192"/>
                    <a:pt x="19927" y="1275874"/>
                    <a:pt x="21286" y="1275531"/>
                  </a:cubicBezTo>
                  <a:cubicBezTo>
                    <a:pt x="22594" y="1275201"/>
                    <a:pt x="23927" y="1274858"/>
                    <a:pt x="25274" y="1274490"/>
                  </a:cubicBezTo>
                  <a:cubicBezTo>
                    <a:pt x="26594" y="1274134"/>
                    <a:pt x="27928" y="1273766"/>
                    <a:pt x="29274" y="1273372"/>
                  </a:cubicBezTo>
                  <a:cubicBezTo>
                    <a:pt x="30595" y="1272991"/>
                    <a:pt x="31928" y="1272598"/>
                    <a:pt x="33275" y="1272191"/>
                  </a:cubicBezTo>
                  <a:cubicBezTo>
                    <a:pt x="34595" y="1271785"/>
                    <a:pt x="35942" y="1271366"/>
                    <a:pt x="37275" y="1270934"/>
                  </a:cubicBezTo>
                  <a:cubicBezTo>
                    <a:pt x="38609" y="1270502"/>
                    <a:pt x="39942" y="1270058"/>
                    <a:pt x="41288" y="1269598"/>
                  </a:cubicBezTo>
                  <a:cubicBezTo>
                    <a:pt x="42622" y="1269142"/>
                    <a:pt x="43968" y="1268661"/>
                    <a:pt x="45301" y="1268179"/>
                  </a:cubicBezTo>
                  <a:cubicBezTo>
                    <a:pt x="46635" y="1267693"/>
                    <a:pt x="47981" y="1267203"/>
                    <a:pt x="49315" y="1266682"/>
                  </a:cubicBezTo>
                  <a:cubicBezTo>
                    <a:pt x="50648" y="1266170"/>
                    <a:pt x="51982" y="1265639"/>
                    <a:pt x="53328" y="1265103"/>
                  </a:cubicBezTo>
                  <a:cubicBezTo>
                    <a:pt x="54661" y="1264559"/>
                    <a:pt x="55995" y="1263997"/>
                    <a:pt x="57328" y="1263427"/>
                  </a:cubicBezTo>
                  <a:cubicBezTo>
                    <a:pt x="58662" y="1262841"/>
                    <a:pt x="60008" y="1262261"/>
                    <a:pt x="61329" y="1261652"/>
                  </a:cubicBezTo>
                  <a:cubicBezTo>
                    <a:pt x="62675" y="1261041"/>
                    <a:pt x="64008" y="1260406"/>
                    <a:pt x="65329" y="1259755"/>
                  </a:cubicBezTo>
                  <a:cubicBezTo>
                    <a:pt x="66663" y="1259111"/>
                    <a:pt x="67996" y="1258451"/>
                    <a:pt x="69304" y="1257767"/>
                  </a:cubicBezTo>
                  <a:cubicBezTo>
                    <a:pt x="70651" y="1257067"/>
                    <a:pt x="71971" y="1256353"/>
                    <a:pt x="73280" y="1255628"/>
                  </a:cubicBezTo>
                  <a:cubicBezTo>
                    <a:pt x="74626" y="1254880"/>
                    <a:pt x="75934" y="1254131"/>
                    <a:pt x="77229" y="1253356"/>
                  </a:cubicBezTo>
                  <a:cubicBezTo>
                    <a:pt x="78575" y="1252557"/>
                    <a:pt x="79883" y="1251729"/>
                    <a:pt x="81179" y="1250906"/>
                  </a:cubicBezTo>
                  <a:cubicBezTo>
                    <a:pt x="82512" y="1250042"/>
                    <a:pt x="83820" y="1249155"/>
                    <a:pt x="85090" y="1248252"/>
                  </a:cubicBezTo>
                  <a:cubicBezTo>
                    <a:pt x="86411" y="1247323"/>
                    <a:pt x="87707" y="1246371"/>
                    <a:pt x="88964" y="1245394"/>
                  </a:cubicBezTo>
                  <a:cubicBezTo>
                    <a:pt x="90285" y="1244367"/>
                    <a:pt x="91567" y="1243310"/>
                    <a:pt x="92812" y="1242235"/>
                  </a:cubicBezTo>
                  <a:cubicBezTo>
                    <a:pt x="94120" y="1241103"/>
                    <a:pt x="95390" y="1239932"/>
                    <a:pt x="96597" y="1238742"/>
                  </a:cubicBezTo>
                  <a:cubicBezTo>
                    <a:pt x="97346" y="1238003"/>
                    <a:pt x="98082" y="1237243"/>
                    <a:pt x="98781" y="1236479"/>
                  </a:cubicBezTo>
                  <a:cubicBezTo>
                    <a:pt x="106884" y="1227753"/>
                    <a:pt x="111938" y="1217697"/>
                    <a:pt x="111938" y="1206277"/>
                  </a:cubicBezTo>
                  <a:cubicBezTo>
                    <a:pt x="111976" y="1169968"/>
                    <a:pt x="59741" y="1140073"/>
                    <a:pt x="21425" y="1127358"/>
                  </a:cubicBezTo>
                  <a:cubicBezTo>
                    <a:pt x="30608" y="1078161"/>
                    <a:pt x="46241" y="1030422"/>
                    <a:pt x="67920" y="985274"/>
                  </a:cubicBezTo>
                  <a:cubicBezTo>
                    <a:pt x="68479" y="985467"/>
                    <a:pt x="69050" y="985641"/>
                    <a:pt x="69635" y="985818"/>
                  </a:cubicBezTo>
                  <a:cubicBezTo>
                    <a:pt x="70206" y="986013"/>
                    <a:pt x="70790" y="986185"/>
                    <a:pt x="71387" y="986364"/>
                  </a:cubicBezTo>
                  <a:cubicBezTo>
                    <a:pt x="71971" y="986543"/>
                    <a:pt x="72581" y="986737"/>
                    <a:pt x="73178" y="986911"/>
                  </a:cubicBezTo>
                  <a:cubicBezTo>
                    <a:pt x="73787" y="987088"/>
                    <a:pt x="74410" y="987267"/>
                    <a:pt x="75032" y="987445"/>
                  </a:cubicBezTo>
                  <a:cubicBezTo>
                    <a:pt x="75654" y="987624"/>
                    <a:pt x="76277" y="987803"/>
                    <a:pt x="76912" y="987976"/>
                  </a:cubicBezTo>
                  <a:cubicBezTo>
                    <a:pt x="77547" y="988155"/>
                    <a:pt x="78194" y="988334"/>
                    <a:pt x="78842" y="988512"/>
                  </a:cubicBezTo>
                  <a:cubicBezTo>
                    <a:pt x="79490" y="988691"/>
                    <a:pt x="80150" y="988870"/>
                    <a:pt x="80823" y="989033"/>
                  </a:cubicBezTo>
                  <a:cubicBezTo>
                    <a:pt x="81484" y="989212"/>
                    <a:pt x="82157" y="989391"/>
                    <a:pt x="82830" y="989555"/>
                  </a:cubicBezTo>
                  <a:cubicBezTo>
                    <a:pt x="83516" y="989732"/>
                    <a:pt x="84201" y="989896"/>
                    <a:pt x="84887" y="990060"/>
                  </a:cubicBezTo>
                  <a:cubicBezTo>
                    <a:pt x="85586" y="990239"/>
                    <a:pt x="86284" y="990403"/>
                    <a:pt x="86995" y="990571"/>
                  </a:cubicBezTo>
                  <a:cubicBezTo>
                    <a:pt x="87707" y="990735"/>
                    <a:pt x="88418" y="990898"/>
                    <a:pt x="89142" y="991067"/>
                  </a:cubicBezTo>
                  <a:cubicBezTo>
                    <a:pt x="89866" y="991231"/>
                    <a:pt x="90590" y="991385"/>
                    <a:pt x="91326" y="991549"/>
                  </a:cubicBezTo>
                  <a:cubicBezTo>
                    <a:pt x="92063" y="991712"/>
                    <a:pt x="92812" y="991866"/>
                    <a:pt x="93561" y="992020"/>
                  </a:cubicBezTo>
                  <a:cubicBezTo>
                    <a:pt x="94311" y="992168"/>
                    <a:pt x="95060" y="992322"/>
                    <a:pt x="95822" y="992476"/>
                  </a:cubicBezTo>
                  <a:cubicBezTo>
                    <a:pt x="96597" y="992625"/>
                    <a:pt x="97371" y="992779"/>
                    <a:pt x="98133" y="992918"/>
                  </a:cubicBezTo>
                  <a:cubicBezTo>
                    <a:pt x="98921" y="993071"/>
                    <a:pt x="99708" y="993211"/>
                    <a:pt x="100495" y="993349"/>
                  </a:cubicBezTo>
                  <a:cubicBezTo>
                    <a:pt x="101296" y="993488"/>
                    <a:pt x="102096" y="993633"/>
                    <a:pt x="102896" y="993756"/>
                  </a:cubicBezTo>
                  <a:cubicBezTo>
                    <a:pt x="103709" y="993895"/>
                    <a:pt x="104521" y="994024"/>
                    <a:pt x="105334" y="994153"/>
                  </a:cubicBezTo>
                  <a:cubicBezTo>
                    <a:pt x="106160" y="994276"/>
                    <a:pt x="106985" y="994406"/>
                    <a:pt x="107811" y="994520"/>
                  </a:cubicBezTo>
                  <a:cubicBezTo>
                    <a:pt x="108649" y="994635"/>
                    <a:pt x="109487" y="994758"/>
                    <a:pt x="110325" y="994862"/>
                  </a:cubicBezTo>
                  <a:cubicBezTo>
                    <a:pt x="111176" y="994976"/>
                    <a:pt x="112040" y="995075"/>
                    <a:pt x="112891" y="995179"/>
                  </a:cubicBezTo>
                  <a:cubicBezTo>
                    <a:pt x="113754" y="995278"/>
                    <a:pt x="114631" y="995383"/>
                    <a:pt x="115494" y="995473"/>
                  </a:cubicBezTo>
                  <a:cubicBezTo>
                    <a:pt x="116383" y="995572"/>
                    <a:pt x="117260" y="995651"/>
                    <a:pt x="118136" y="995741"/>
                  </a:cubicBezTo>
                  <a:cubicBezTo>
                    <a:pt x="119025" y="995814"/>
                    <a:pt x="119926" y="995889"/>
                    <a:pt x="120828" y="995968"/>
                  </a:cubicBezTo>
                  <a:cubicBezTo>
                    <a:pt x="121730" y="996028"/>
                    <a:pt x="122631" y="996093"/>
                    <a:pt x="123546" y="996147"/>
                  </a:cubicBezTo>
                  <a:cubicBezTo>
                    <a:pt x="124473" y="996207"/>
                    <a:pt x="125387" y="996261"/>
                    <a:pt x="126315" y="996296"/>
                  </a:cubicBezTo>
                  <a:cubicBezTo>
                    <a:pt x="127242" y="996335"/>
                    <a:pt x="128182" y="996376"/>
                    <a:pt x="129121" y="996400"/>
                  </a:cubicBezTo>
                  <a:cubicBezTo>
                    <a:pt x="130074" y="996425"/>
                    <a:pt x="131013" y="996435"/>
                    <a:pt x="131953" y="996449"/>
                  </a:cubicBezTo>
                  <a:cubicBezTo>
                    <a:pt x="132385" y="996449"/>
                    <a:pt x="132804" y="996449"/>
                    <a:pt x="133223" y="996449"/>
                  </a:cubicBezTo>
                  <a:cubicBezTo>
                    <a:pt x="133770" y="996449"/>
                    <a:pt x="134303" y="996449"/>
                    <a:pt x="134849" y="996449"/>
                  </a:cubicBezTo>
                  <a:cubicBezTo>
                    <a:pt x="135827" y="996435"/>
                    <a:pt x="136792" y="996410"/>
                    <a:pt x="137770" y="996386"/>
                  </a:cubicBezTo>
                  <a:cubicBezTo>
                    <a:pt x="138760" y="996345"/>
                    <a:pt x="139751" y="996311"/>
                    <a:pt x="140742" y="996246"/>
                  </a:cubicBezTo>
                  <a:cubicBezTo>
                    <a:pt x="141745" y="996197"/>
                    <a:pt x="142748" y="996118"/>
                    <a:pt x="143752" y="996043"/>
                  </a:cubicBezTo>
                  <a:cubicBezTo>
                    <a:pt x="144768" y="995954"/>
                    <a:pt x="145784" y="995855"/>
                    <a:pt x="146787" y="995751"/>
                  </a:cubicBezTo>
                  <a:cubicBezTo>
                    <a:pt x="147828" y="995637"/>
                    <a:pt x="148857" y="995512"/>
                    <a:pt x="149873" y="995359"/>
                  </a:cubicBezTo>
                  <a:cubicBezTo>
                    <a:pt x="150927" y="995205"/>
                    <a:pt x="151969" y="995041"/>
                    <a:pt x="152997" y="994862"/>
                  </a:cubicBezTo>
                  <a:cubicBezTo>
                    <a:pt x="155321" y="994456"/>
                    <a:pt x="157595" y="993959"/>
                    <a:pt x="159804" y="993373"/>
                  </a:cubicBezTo>
                  <a:cubicBezTo>
                    <a:pt x="162370" y="992689"/>
                    <a:pt x="164846" y="991876"/>
                    <a:pt x="167221" y="990938"/>
                  </a:cubicBezTo>
                  <a:cubicBezTo>
                    <a:pt x="169342" y="990086"/>
                    <a:pt x="171374" y="989133"/>
                    <a:pt x="173317" y="988066"/>
                  </a:cubicBezTo>
                  <a:cubicBezTo>
                    <a:pt x="175082" y="987078"/>
                    <a:pt x="176784" y="985997"/>
                    <a:pt x="178384" y="984816"/>
                  </a:cubicBezTo>
                  <a:cubicBezTo>
                    <a:pt x="179858" y="983725"/>
                    <a:pt x="181267" y="982529"/>
                    <a:pt x="182588" y="981250"/>
                  </a:cubicBezTo>
                  <a:cubicBezTo>
                    <a:pt x="183325" y="980525"/>
                    <a:pt x="184023" y="979776"/>
                    <a:pt x="184709" y="978997"/>
                  </a:cubicBezTo>
                  <a:cubicBezTo>
                    <a:pt x="186296" y="977172"/>
                    <a:pt x="187732" y="975177"/>
                    <a:pt x="188989" y="973004"/>
                  </a:cubicBezTo>
                  <a:cubicBezTo>
                    <a:pt x="207137" y="941587"/>
                    <a:pt x="176899" y="889631"/>
                    <a:pt x="150114" y="859493"/>
                  </a:cubicBezTo>
                  <a:cubicBezTo>
                    <a:pt x="160122" y="847836"/>
                    <a:pt x="170587" y="836594"/>
                    <a:pt x="181471" y="825799"/>
                  </a:cubicBezTo>
                  <a:cubicBezTo>
                    <a:pt x="182144" y="825140"/>
                    <a:pt x="182804" y="824479"/>
                    <a:pt x="183477" y="823820"/>
                  </a:cubicBezTo>
                  <a:cubicBezTo>
                    <a:pt x="184150" y="823160"/>
                    <a:pt x="184823" y="822501"/>
                    <a:pt x="185496" y="821850"/>
                  </a:cubicBezTo>
                  <a:cubicBezTo>
                    <a:pt x="186106" y="821255"/>
                    <a:pt x="186728" y="820654"/>
                    <a:pt x="187338" y="820060"/>
                  </a:cubicBezTo>
                  <a:cubicBezTo>
                    <a:pt x="187998" y="819425"/>
                    <a:pt x="188659" y="818790"/>
                    <a:pt x="189319" y="818169"/>
                  </a:cubicBezTo>
                  <a:cubicBezTo>
                    <a:pt x="189941" y="817569"/>
                    <a:pt x="190564" y="816973"/>
                    <a:pt x="191186" y="816378"/>
                  </a:cubicBezTo>
                  <a:cubicBezTo>
                    <a:pt x="191834" y="815768"/>
                    <a:pt x="192481" y="815173"/>
                    <a:pt x="193129" y="814563"/>
                  </a:cubicBezTo>
                  <a:cubicBezTo>
                    <a:pt x="193790" y="813937"/>
                    <a:pt x="194450" y="813317"/>
                    <a:pt x="195110" y="812708"/>
                  </a:cubicBezTo>
                  <a:cubicBezTo>
                    <a:pt x="195745" y="812112"/>
                    <a:pt x="196393" y="811511"/>
                    <a:pt x="197028" y="810926"/>
                  </a:cubicBezTo>
                  <a:cubicBezTo>
                    <a:pt x="197688" y="810321"/>
                    <a:pt x="198362" y="809710"/>
                    <a:pt x="199022" y="809101"/>
                  </a:cubicBezTo>
                  <a:cubicBezTo>
                    <a:pt x="199670" y="808515"/>
                    <a:pt x="200305" y="807930"/>
                    <a:pt x="200952" y="807349"/>
                  </a:cubicBezTo>
                  <a:cubicBezTo>
                    <a:pt x="201613" y="806749"/>
                    <a:pt x="202273" y="806153"/>
                    <a:pt x="202934" y="805569"/>
                  </a:cubicBezTo>
                  <a:cubicBezTo>
                    <a:pt x="203607" y="804973"/>
                    <a:pt x="204280" y="804373"/>
                    <a:pt x="204953" y="803777"/>
                  </a:cubicBezTo>
                  <a:cubicBezTo>
                    <a:pt x="205600" y="803191"/>
                    <a:pt x="206261" y="802611"/>
                    <a:pt x="206921" y="802036"/>
                  </a:cubicBezTo>
                  <a:cubicBezTo>
                    <a:pt x="207594" y="801441"/>
                    <a:pt x="208268" y="800856"/>
                    <a:pt x="208953" y="800260"/>
                  </a:cubicBezTo>
                  <a:cubicBezTo>
                    <a:pt x="209601" y="799690"/>
                    <a:pt x="210261" y="799119"/>
                    <a:pt x="210934" y="798543"/>
                  </a:cubicBezTo>
                  <a:cubicBezTo>
                    <a:pt x="211976" y="797645"/>
                    <a:pt x="213017" y="796758"/>
                    <a:pt x="214071" y="795855"/>
                  </a:cubicBezTo>
                  <a:cubicBezTo>
                    <a:pt x="215417" y="794709"/>
                    <a:pt x="216764" y="793583"/>
                    <a:pt x="218123" y="792437"/>
                  </a:cubicBezTo>
                  <a:cubicBezTo>
                    <a:pt x="219482" y="791306"/>
                    <a:pt x="220840" y="790189"/>
                    <a:pt x="222199" y="789073"/>
                  </a:cubicBezTo>
                  <a:cubicBezTo>
                    <a:pt x="223571" y="787952"/>
                    <a:pt x="224942" y="786836"/>
                    <a:pt x="226327" y="785729"/>
                  </a:cubicBezTo>
                  <a:cubicBezTo>
                    <a:pt x="227698" y="784628"/>
                    <a:pt x="229083" y="783522"/>
                    <a:pt x="230467" y="782431"/>
                  </a:cubicBezTo>
                  <a:cubicBezTo>
                    <a:pt x="231851" y="781339"/>
                    <a:pt x="233248" y="780248"/>
                    <a:pt x="234645" y="779166"/>
                  </a:cubicBezTo>
                  <a:cubicBezTo>
                    <a:pt x="236042" y="778085"/>
                    <a:pt x="237452" y="777008"/>
                    <a:pt x="238862" y="775941"/>
                  </a:cubicBezTo>
                  <a:cubicBezTo>
                    <a:pt x="240259" y="774876"/>
                    <a:pt x="241668" y="773809"/>
                    <a:pt x="243091" y="772752"/>
                  </a:cubicBezTo>
                  <a:cubicBezTo>
                    <a:pt x="244513" y="771701"/>
                    <a:pt x="245923" y="770658"/>
                    <a:pt x="247358" y="769601"/>
                  </a:cubicBezTo>
                  <a:cubicBezTo>
                    <a:pt x="248780" y="768560"/>
                    <a:pt x="250215" y="767533"/>
                    <a:pt x="251651" y="766506"/>
                  </a:cubicBezTo>
                  <a:cubicBezTo>
                    <a:pt x="253086" y="765474"/>
                    <a:pt x="254533" y="764448"/>
                    <a:pt x="255981" y="763430"/>
                  </a:cubicBezTo>
                  <a:cubicBezTo>
                    <a:pt x="257429" y="762413"/>
                    <a:pt x="258877" y="761396"/>
                    <a:pt x="260337" y="760394"/>
                  </a:cubicBezTo>
                  <a:cubicBezTo>
                    <a:pt x="260680" y="760156"/>
                    <a:pt x="261036" y="759913"/>
                    <a:pt x="261379" y="759685"/>
                  </a:cubicBezTo>
                  <a:cubicBezTo>
                    <a:pt x="266497" y="765335"/>
                    <a:pt x="272656" y="771532"/>
                    <a:pt x="279514" y="777668"/>
                  </a:cubicBezTo>
                  <a:cubicBezTo>
                    <a:pt x="283324" y="781081"/>
                    <a:pt x="287350" y="784474"/>
                    <a:pt x="291541" y="787738"/>
                  </a:cubicBezTo>
                  <a:cubicBezTo>
                    <a:pt x="294462" y="790025"/>
                    <a:pt x="297459" y="792258"/>
                    <a:pt x="300520" y="794382"/>
                  </a:cubicBezTo>
                  <a:cubicBezTo>
                    <a:pt x="302958" y="796083"/>
                    <a:pt x="305448" y="797720"/>
                    <a:pt x="307950" y="799282"/>
                  </a:cubicBezTo>
                  <a:cubicBezTo>
                    <a:pt x="310058" y="800602"/>
                    <a:pt x="312179" y="801848"/>
                    <a:pt x="314325" y="803043"/>
                  </a:cubicBezTo>
                  <a:cubicBezTo>
                    <a:pt x="316179" y="804070"/>
                    <a:pt x="318046" y="805062"/>
                    <a:pt x="319926" y="805975"/>
                  </a:cubicBezTo>
                  <a:cubicBezTo>
                    <a:pt x="321577" y="806798"/>
                    <a:pt x="323240" y="807563"/>
                    <a:pt x="324891" y="808287"/>
                  </a:cubicBezTo>
                  <a:cubicBezTo>
                    <a:pt x="326390" y="808937"/>
                    <a:pt x="327876" y="809533"/>
                    <a:pt x="329362" y="810093"/>
                  </a:cubicBezTo>
                  <a:cubicBezTo>
                    <a:pt x="330695" y="810598"/>
                    <a:pt x="332029" y="811071"/>
                    <a:pt x="333362" y="811487"/>
                  </a:cubicBezTo>
                  <a:cubicBezTo>
                    <a:pt x="334556" y="811868"/>
                    <a:pt x="335750" y="812226"/>
                    <a:pt x="336931" y="812544"/>
                  </a:cubicBezTo>
                  <a:cubicBezTo>
                    <a:pt x="337998" y="812831"/>
                    <a:pt x="339064" y="813089"/>
                    <a:pt x="340118" y="813327"/>
                  </a:cubicBezTo>
                  <a:cubicBezTo>
                    <a:pt x="341046" y="813531"/>
                    <a:pt x="341960" y="813710"/>
                    <a:pt x="342887" y="813873"/>
                  </a:cubicBezTo>
                  <a:cubicBezTo>
                    <a:pt x="343675" y="814017"/>
                    <a:pt x="344462" y="814131"/>
                    <a:pt x="345237" y="814230"/>
                  </a:cubicBezTo>
                  <a:cubicBezTo>
                    <a:pt x="345872" y="814319"/>
                    <a:pt x="346507" y="814394"/>
                    <a:pt x="347129" y="814459"/>
                  </a:cubicBezTo>
                  <a:cubicBezTo>
                    <a:pt x="347586" y="814498"/>
                    <a:pt x="348031" y="814538"/>
                    <a:pt x="348488" y="814572"/>
                  </a:cubicBezTo>
                  <a:cubicBezTo>
                    <a:pt x="348716" y="814587"/>
                    <a:pt x="348945" y="814613"/>
                    <a:pt x="349174" y="814621"/>
                  </a:cubicBezTo>
                  <a:cubicBezTo>
                    <a:pt x="350177" y="814686"/>
                    <a:pt x="351193" y="814712"/>
                    <a:pt x="352184" y="814712"/>
                  </a:cubicBezTo>
                  <a:cubicBezTo>
                    <a:pt x="359283" y="814712"/>
                    <a:pt x="366077" y="813138"/>
                    <a:pt x="372326" y="809533"/>
                  </a:cubicBezTo>
                  <a:cubicBezTo>
                    <a:pt x="376110" y="807349"/>
                    <a:pt x="379425" y="804566"/>
                    <a:pt x="382333" y="801278"/>
                  </a:cubicBezTo>
                  <a:cubicBezTo>
                    <a:pt x="403644" y="777211"/>
                    <a:pt x="402590" y="726421"/>
                    <a:pt x="395402" y="691650"/>
                  </a:cubicBezTo>
                  <a:cubicBezTo>
                    <a:pt x="396799" y="691155"/>
                    <a:pt x="398196" y="690674"/>
                    <a:pt x="399605" y="690192"/>
                  </a:cubicBezTo>
                  <a:cubicBezTo>
                    <a:pt x="401002" y="689706"/>
                    <a:pt x="402399" y="689240"/>
                    <a:pt x="403809" y="688769"/>
                  </a:cubicBezTo>
                  <a:cubicBezTo>
                    <a:pt x="405193" y="688297"/>
                    <a:pt x="406590" y="687840"/>
                    <a:pt x="407987" y="687384"/>
                  </a:cubicBezTo>
                  <a:cubicBezTo>
                    <a:pt x="409371" y="686937"/>
                    <a:pt x="410756" y="686497"/>
                    <a:pt x="412127" y="686050"/>
                  </a:cubicBezTo>
                  <a:cubicBezTo>
                    <a:pt x="413512" y="685618"/>
                    <a:pt x="414883" y="685186"/>
                    <a:pt x="416267" y="684755"/>
                  </a:cubicBezTo>
                  <a:cubicBezTo>
                    <a:pt x="417639" y="684334"/>
                    <a:pt x="419011" y="683916"/>
                    <a:pt x="420382" y="683510"/>
                  </a:cubicBezTo>
                  <a:cubicBezTo>
                    <a:pt x="421741" y="683103"/>
                    <a:pt x="423113" y="682697"/>
                    <a:pt x="424472" y="682289"/>
                  </a:cubicBezTo>
                  <a:cubicBezTo>
                    <a:pt x="425831" y="681898"/>
                    <a:pt x="427189" y="681505"/>
                    <a:pt x="428548" y="681123"/>
                  </a:cubicBezTo>
                  <a:cubicBezTo>
                    <a:pt x="429895" y="680741"/>
                    <a:pt x="431241" y="680360"/>
                    <a:pt x="432587" y="679993"/>
                  </a:cubicBezTo>
                  <a:cubicBezTo>
                    <a:pt x="433920" y="679626"/>
                    <a:pt x="435267" y="679254"/>
                    <a:pt x="436600" y="678887"/>
                  </a:cubicBezTo>
                  <a:cubicBezTo>
                    <a:pt x="437934" y="678529"/>
                    <a:pt x="439254" y="678187"/>
                    <a:pt x="440588" y="677834"/>
                  </a:cubicBezTo>
                  <a:cubicBezTo>
                    <a:pt x="441909" y="677492"/>
                    <a:pt x="443230" y="677160"/>
                    <a:pt x="444550" y="676818"/>
                  </a:cubicBezTo>
                  <a:cubicBezTo>
                    <a:pt x="445858" y="676485"/>
                    <a:pt x="447179" y="676157"/>
                    <a:pt x="448487" y="675840"/>
                  </a:cubicBezTo>
                  <a:cubicBezTo>
                    <a:pt x="449783" y="675523"/>
                    <a:pt x="451078" y="675205"/>
                    <a:pt x="452374" y="674898"/>
                  </a:cubicBezTo>
                  <a:cubicBezTo>
                    <a:pt x="453656" y="674595"/>
                    <a:pt x="454952" y="674287"/>
                    <a:pt x="456247" y="674000"/>
                  </a:cubicBezTo>
                  <a:cubicBezTo>
                    <a:pt x="457517" y="673692"/>
                    <a:pt x="458787" y="673414"/>
                    <a:pt x="460057" y="673121"/>
                  </a:cubicBezTo>
                  <a:cubicBezTo>
                    <a:pt x="461327" y="672844"/>
                    <a:pt x="462584" y="672561"/>
                    <a:pt x="463842" y="672298"/>
                  </a:cubicBezTo>
                  <a:cubicBezTo>
                    <a:pt x="465099" y="672015"/>
                    <a:pt x="466344" y="671747"/>
                    <a:pt x="467588" y="671494"/>
                  </a:cubicBezTo>
                  <a:cubicBezTo>
                    <a:pt x="468820" y="671241"/>
                    <a:pt x="470052" y="670989"/>
                    <a:pt x="471284" y="670736"/>
                  </a:cubicBezTo>
                  <a:cubicBezTo>
                    <a:pt x="472503" y="670492"/>
                    <a:pt x="473710" y="670249"/>
                    <a:pt x="474929" y="670011"/>
                  </a:cubicBezTo>
                  <a:cubicBezTo>
                    <a:pt x="476122" y="669768"/>
                    <a:pt x="477329" y="669540"/>
                    <a:pt x="478523" y="669311"/>
                  </a:cubicBezTo>
                  <a:cubicBezTo>
                    <a:pt x="479704" y="669094"/>
                    <a:pt x="480885" y="668880"/>
                    <a:pt x="482066" y="668662"/>
                  </a:cubicBezTo>
                  <a:cubicBezTo>
                    <a:pt x="483222" y="668449"/>
                    <a:pt x="484377" y="668230"/>
                    <a:pt x="485533" y="668027"/>
                  </a:cubicBezTo>
                  <a:cubicBezTo>
                    <a:pt x="486676" y="667838"/>
                    <a:pt x="487807" y="667635"/>
                    <a:pt x="488937" y="667447"/>
                  </a:cubicBezTo>
                  <a:cubicBezTo>
                    <a:pt x="490054" y="667252"/>
                    <a:pt x="491159" y="667074"/>
                    <a:pt x="492277" y="666885"/>
                  </a:cubicBezTo>
                  <a:cubicBezTo>
                    <a:pt x="493356" y="666707"/>
                    <a:pt x="494436" y="666544"/>
                    <a:pt x="495515" y="666365"/>
                  </a:cubicBezTo>
                  <a:cubicBezTo>
                    <a:pt x="496569" y="666201"/>
                    <a:pt x="497624" y="666032"/>
                    <a:pt x="498678" y="665869"/>
                  </a:cubicBezTo>
                  <a:cubicBezTo>
                    <a:pt x="499694" y="665714"/>
                    <a:pt x="500722" y="665566"/>
                    <a:pt x="501738" y="665412"/>
                  </a:cubicBezTo>
                  <a:cubicBezTo>
                    <a:pt x="502716" y="665274"/>
                    <a:pt x="503694" y="665134"/>
                    <a:pt x="504672" y="664996"/>
                  </a:cubicBezTo>
                  <a:cubicBezTo>
                    <a:pt x="505612" y="664866"/>
                    <a:pt x="506552" y="664728"/>
                    <a:pt x="507491" y="664599"/>
                  </a:cubicBezTo>
                  <a:cubicBezTo>
                    <a:pt x="508380" y="664485"/>
                    <a:pt x="509269" y="664361"/>
                    <a:pt x="510146" y="664241"/>
                  </a:cubicBezTo>
                  <a:cubicBezTo>
                    <a:pt x="510984" y="664142"/>
                    <a:pt x="511809" y="664028"/>
                    <a:pt x="512648" y="663924"/>
                  </a:cubicBezTo>
                  <a:cubicBezTo>
                    <a:pt x="513410" y="663825"/>
                    <a:pt x="514159" y="663736"/>
                    <a:pt x="514921" y="663637"/>
                  </a:cubicBezTo>
                  <a:cubicBezTo>
                    <a:pt x="515607" y="663557"/>
                    <a:pt x="516280" y="663468"/>
                    <a:pt x="516953" y="663393"/>
                  </a:cubicBezTo>
                  <a:cubicBezTo>
                    <a:pt x="517524" y="663329"/>
                    <a:pt x="518096" y="663254"/>
                    <a:pt x="518680" y="663190"/>
                  </a:cubicBezTo>
                  <a:cubicBezTo>
                    <a:pt x="519112" y="663140"/>
                    <a:pt x="519544" y="663085"/>
                    <a:pt x="519975" y="663036"/>
                  </a:cubicBezTo>
                  <a:cubicBezTo>
                    <a:pt x="520229" y="663012"/>
                    <a:pt x="520471" y="662986"/>
                    <a:pt x="520712" y="662961"/>
                  </a:cubicBezTo>
                  <a:cubicBezTo>
                    <a:pt x="527697" y="662163"/>
                    <a:pt x="534695" y="661513"/>
                    <a:pt x="541718" y="660982"/>
                  </a:cubicBezTo>
                  <a:cubicBezTo>
                    <a:pt x="546391" y="682711"/>
                    <a:pt x="556374" y="712873"/>
                    <a:pt x="571855" y="734106"/>
                  </a:cubicBezTo>
                  <a:cubicBezTo>
                    <a:pt x="572058" y="734398"/>
                    <a:pt x="572274" y="734676"/>
                    <a:pt x="572477" y="734970"/>
                  </a:cubicBezTo>
                  <a:cubicBezTo>
                    <a:pt x="572706" y="735277"/>
                    <a:pt x="572934" y="735579"/>
                    <a:pt x="573176" y="735882"/>
                  </a:cubicBezTo>
                  <a:cubicBezTo>
                    <a:pt x="573417" y="736199"/>
                    <a:pt x="573671" y="736532"/>
                    <a:pt x="573925" y="736849"/>
                  </a:cubicBezTo>
                  <a:cubicBezTo>
                    <a:pt x="574192" y="737192"/>
                    <a:pt x="574458" y="737534"/>
                    <a:pt x="574725" y="737867"/>
                  </a:cubicBezTo>
                  <a:cubicBezTo>
                    <a:pt x="575017" y="738234"/>
                    <a:pt x="575309" y="738591"/>
                    <a:pt x="575601" y="738944"/>
                  </a:cubicBezTo>
                  <a:cubicBezTo>
                    <a:pt x="575919" y="739325"/>
                    <a:pt x="576224" y="739692"/>
                    <a:pt x="576541" y="740064"/>
                  </a:cubicBezTo>
                  <a:cubicBezTo>
                    <a:pt x="576884" y="740456"/>
                    <a:pt x="577214" y="740849"/>
                    <a:pt x="577557" y="741230"/>
                  </a:cubicBezTo>
                  <a:cubicBezTo>
                    <a:pt x="577925" y="741637"/>
                    <a:pt x="578294" y="742044"/>
                    <a:pt x="578662" y="742450"/>
                  </a:cubicBezTo>
                  <a:cubicBezTo>
                    <a:pt x="579056" y="742867"/>
                    <a:pt x="579449" y="743288"/>
                    <a:pt x="579856" y="743706"/>
                  </a:cubicBezTo>
                  <a:cubicBezTo>
                    <a:pt x="580288" y="744152"/>
                    <a:pt x="580719" y="744584"/>
                    <a:pt x="581151" y="745015"/>
                  </a:cubicBezTo>
                  <a:cubicBezTo>
                    <a:pt x="581621" y="745471"/>
                    <a:pt x="582078" y="745918"/>
                    <a:pt x="582561" y="746359"/>
                  </a:cubicBezTo>
                  <a:cubicBezTo>
                    <a:pt x="583056" y="746832"/>
                    <a:pt x="583577" y="747303"/>
                    <a:pt x="584085" y="747743"/>
                  </a:cubicBezTo>
                  <a:cubicBezTo>
                    <a:pt x="584644" y="748240"/>
                    <a:pt x="585202" y="748711"/>
                    <a:pt x="585774" y="749167"/>
                  </a:cubicBezTo>
                  <a:cubicBezTo>
                    <a:pt x="586384" y="749679"/>
                    <a:pt x="587006" y="750160"/>
                    <a:pt x="587641" y="750631"/>
                  </a:cubicBezTo>
                  <a:cubicBezTo>
                    <a:pt x="588314" y="751137"/>
                    <a:pt x="589013" y="751633"/>
                    <a:pt x="589711" y="752115"/>
                  </a:cubicBezTo>
                  <a:cubicBezTo>
                    <a:pt x="590486" y="752635"/>
                    <a:pt x="591260" y="753131"/>
                    <a:pt x="592048" y="753612"/>
                  </a:cubicBezTo>
                  <a:cubicBezTo>
                    <a:pt x="592937" y="754148"/>
                    <a:pt x="593839" y="754645"/>
                    <a:pt x="594740" y="755111"/>
                  </a:cubicBezTo>
                  <a:cubicBezTo>
                    <a:pt x="595782" y="755647"/>
                    <a:pt x="596836" y="756143"/>
                    <a:pt x="597915" y="756584"/>
                  </a:cubicBezTo>
                  <a:cubicBezTo>
                    <a:pt x="599198" y="757130"/>
                    <a:pt x="600506" y="757601"/>
                    <a:pt x="601827" y="757994"/>
                  </a:cubicBezTo>
                  <a:cubicBezTo>
                    <a:pt x="603579" y="758528"/>
                    <a:pt x="605370" y="758936"/>
                    <a:pt x="607199" y="759214"/>
                  </a:cubicBezTo>
                  <a:cubicBezTo>
                    <a:pt x="609040" y="759491"/>
                    <a:pt x="610933" y="759636"/>
                    <a:pt x="612863" y="759636"/>
                  </a:cubicBezTo>
                  <a:cubicBezTo>
                    <a:pt x="615454" y="759636"/>
                    <a:pt x="618007" y="759368"/>
                    <a:pt x="620521" y="758856"/>
                  </a:cubicBezTo>
                  <a:cubicBezTo>
                    <a:pt x="620839" y="758806"/>
                    <a:pt x="621143" y="758733"/>
                    <a:pt x="621448" y="758668"/>
                  </a:cubicBezTo>
                  <a:cubicBezTo>
                    <a:pt x="626312" y="757576"/>
                    <a:pt x="631037" y="755582"/>
                    <a:pt x="635583" y="752864"/>
                  </a:cubicBezTo>
                  <a:cubicBezTo>
                    <a:pt x="637691" y="751618"/>
                    <a:pt x="639749" y="750224"/>
                    <a:pt x="641781" y="748672"/>
                  </a:cubicBezTo>
                  <a:cubicBezTo>
                    <a:pt x="643394" y="747456"/>
                    <a:pt x="644981" y="746132"/>
                    <a:pt x="646543" y="744748"/>
                  </a:cubicBezTo>
                  <a:cubicBezTo>
                    <a:pt x="647902" y="743542"/>
                    <a:pt x="649248" y="742272"/>
                    <a:pt x="650569" y="740953"/>
                  </a:cubicBezTo>
                  <a:cubicBezTo>
                    <a:pt x="651192" y="740327"/>
                    <a:pt x="651814" y="739692"/>
                    <a:pt x="652436" y="739033"/>
                  </a:cubicBezTo>
                  <a:cubicBezTo>
                    <a:pt x="671626" y="718817"/>
                    <a:pt x="686294" y="687613"/>
                    <a:pt x="693444" y="663661"/>
                  </a:cubicBezTo>
                  <a:lnTo>
                    <a:pt x="693711" y="661846"/>
                  </a:lnTo>
                  <a:lnTo>
                    <a:pt x="693711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550BEB26-F8FB-DC0B-A637-48B14972784B}"/>
                </a:ext>
              </a:extLst>
            </p:cNvPr>
            <p:cNvSpPr/>
            <p:nvPr/>
          </p:nvSpPr>
          <p:spPr>
            <a:xfrm rot="5400000" flipV="1">
              <a:off x="1022845" y="6497857"/>
              <a:ext cx="248995" cy="248995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92DA98AE-B574-4382-CE7C-7B16EBBDDB51}"/>
                </a:ext>
              </a:extLst>
            </p:cNvPr>
            <p:cNvSpPr/>
            <p:nvPr/>
          </p:nvSpPr>
          <p:spPr>
            <a:xfrm rot="5400000" flipV="1">
              <a:off x="441866" y="6192717"/>
              <a:ext cx="378987" cy="378986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87" name="Slide Number Placeholder 4">
              <a:extLst>
                <a:ext uri="{FF2B5EF4-FFF2-40B4-BE49-F238E27FC236}">
                  <a16:creationId xmlns:a16="http://schemas.microsoft.com/office/drawing/2014/main" id="{6F8F0A63-FB65-4D5E-F40E-AE26287B9418}"/>
                </a:ext>
              </a:extLst>
            </p:cNvPr>
            <p:cNvSpPr txBox="1">
              <a:spLocks/>
            </p:cNvSpPr>
            <p:nvPr/>
          </p:nvSpPr>
          <p:spPr>
            <a:xfrm>
              <a:off x="606420" y="6324442"/>
              <a:ext cx="64120" cy="12311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3AA4AE14-256E-4160-8E2D-F13F9E1D91E6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4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1E2D0C7-268F-B9B6-308C-37FEBBF0D6EC}"/>
              </a:ext>
            </a:extLst>
          </p:cNvPr>
          <p:cNvSpPr txBox="1"/>
          <p:nvPr/>
        </p:nvSpPr>
        <p:spPr>
          <a:xfrm>
            <a:off x="286521" y="3274780"/>
            <a:ext cx="2950166" cy="172354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Planning Model Development and Improvements </a:t>
            </a:r>
          </a:p>
        </p:txBody>
      </p:sp>
      <p:grpSp>
        <p:nvGrpSpPr>
          <p:cNvPr id="91" name="Graphic 89">
            <a:extLst>
              <a:ext uri="{FF2B5EF4-FFF2-40B4-BE49-F238E27FC236}">
                <a16:creationId xmlns:a16="http://schemas.microsoft.com/office/drawing/2014/main" id="{4D1EF9AF-646C-BAE9-7B68-0FBBE96B42A1}"/>
              </a:ext>
            </a:extLst>
          </p:cNvPr>
          <p:cNvGrpSpPr/>
          <p:nvPr/>
        </p:nvGrpSpPr>
        <p:grpSpPr>
          <a:xfrm>
            <a:off x="907494" y="1326934"/>
            <a:ext cx="1708218" cy="1708222"/>
            <a:chOff x="665123" y="847278"/>
            <a:chExt cx="1880418" cy="1880422"/>
          </a:xfrm>
          <a:solidFill>
            <a:srgbClr val="000000"/>
          </a:solidFill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CCA7EB-C5A5-3295-7E74-EBA09017CA94}"/>
                </a:ext>
              </a:extLst>
            </p:cNvPr>
            <p:cNvSpPr/>
            <p:nvPr/>
          </p:nvSpPr>
          <p:spPr>
            <a:xfrm>
              <a:off x="665123" y="2165537"/>
              <a:ext cx="1476725" cy="562164"/>
            </a:xfrm>
            <a:custGeom>
              <a:avLst/>
              <a:gdLst>
                <a:gd name="connsiteX0" fmla="*/ 1435917 w 1476725"/>
                <a:gd name="connsiteY0" fmla="*/ 297822 h 562164"/>
                <a:gd name="connsiteX1" fmla="*/ 1379118 w 1476725"/>
                <a:gd name="connsiteY1" fmla="*/ 329135 h 562164"/>
                <a:gd name="connsiteX2" fmla="*/ 856086 w 1476725"/>
                <a:gd name="connsiteY2" fmla="*/ 505318 h 562164"/>
                <a:gd name="connsiteX3" fmla="*/ 229995 w 1476725"/>
                <a:gd name="connsiteY3" fmla="*/ 449427 h 562164"/>
                <a:gd name="connsiteX4" fmla="*/ 227542 w 1476725"/>
                <a:gd name="connsiteY4" fmla="*/ 449317 h 562164"/>
                <a:gd name="connsiteX5" fmla="*/ 55197 w 1476725"/>
                <a:gd name="connsiteY5" fmla="*/ 449317 h 562164"/>
                <a:gd name="connsiteX6" fmla="*/ 55197 w 1476725"/>
                <a:gd name="connsiteY6" fmla="*/ 139478 h 562164"/>
                <a:gd name="connsiteX7" fmla="*/ 227538 w 1476725"/>
                <a:gd name="connsiteY7" fmla="*/ 139478 h 562164"/>
                <a:gd name="connsiteX8" fmla="*/ 245362 w 1476725"/>
                <a:gd name="connsiteY8" fmla="*/ 132951 h 562164"/>
                <a:gd name="connsiteX9" fmla="*/ 370255 w 1476725"/>
                <a:gd name="connsiteY9" fmla="*/ 52097 h 562164"/>
                <a:gd name="connsiteX10" fmla="*/ 382026 w 1476725"/>
                <a:gd name="connsiteY10" fmla="*/ 14881 h 562164"/>
                <a:gd name="connsiteX11" fmla="*/ 344811 w 1476725"/>
                <a:gd name="connsiteY11" fmla="*/ 3114 h 562164"/>
                <a:gd name="connsiteX12" fmla="*/ 217776 w 1476725"/>
                <a:gd name="connsiteY12" fmla="*/ 84281 h 562164"/>
                <a:gd name="connsiteX13" fmla="*/ 27600 w 1476725"/>
                <a:gd name="connsiteY13" fmla="*/ 84281 h 562164"/>
                <a:gd name="connsiteX14" fmla="*/ 0 w 1476725"/>
                <a:gd name="connsiteY14" fmla="*/ 111881 h 562164"/>
                <a:gd name="connsiteX15" fmla="*/ 0 w 1476725"/>
                <a:gd name="connsiteY15" fmla="*/ 476917 h 562164"/>
                <a:gd name="connsiteX16" fmla="*/ 27600 w 1476725"/>
                <a:gd name="connsiteY16" fmla="*/ 504518 h 562164"/>
                <a:gd name="connsiteX17" fmla="*/ 226308 w 1476725"/>
                <a:gd name="connsiteY17" fmla="*/ 504518 h 562164"/>
                <a:gd name="connsiteX18" fmla="*/ 851176 w 1476725"/>
                <a:gd name="connsiteY18" fmla="*/ 560302 h 562164"/>
                <a:gd name="connsiteX19" fmla="*/ 893456 w 1476725"/>
                <a:gd name="connsiteY19" fmla="*/ 562164 h 562164"/>
                <a:gd name="connsiteX20" fmla="*/ 1405881 w 1476725"/>
                <a:gd name="connsiteY20" fmla="*/ 377417 h 562164"/>
                <a:gd name="connsiteX21" fmla="*/ 1462327 w 1476725"/>
                <a:gd name="connsiteY21" fmla="*/ 346294 h 562164"/>
                <a:gd name="connsiteX22" fmla="*/ 1473356 w 1476725"/>
                <a:gd name="connsiteY22" fmla="*/ 308855 h 562164"/>
                <a:gd name="connsiteX23" fmla="*/ 1435917 w 1476725"/>
                <a:gd name="connsiteY23" fmla="*/ 297822 h 56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76725" h="562164">
                  <a:moveTo>
                    <a:pt x="1435917" y="297822"/>
                  </a:moveTo>
                  <a:cubicBezTo>
                    <a:pt x="1417237" y="307999"/>
                    <a:pt x="1398297" y="318503"/>
                    <a:pt x="1379118" y="329135"/>
                  </a:cubicBezTo>
                  <a:cubicBezTo>
                    <a:pt x="1216826" y="419116"/>
                    <a:pt x="1032879" y="521107"/>
                    <a:pt x="856086" y="505318"/>
                  </a:cubicBezTo>
                  <a:lnTo>
                    <a:pt x="229995" y="449427"/>
                  </a:lnTo>
                  <a:cubicBezTo>
                    <a:pt x="229180" y="449354"/>
                    <a:pt x="228361" y="449317"/>
                    <a:pt x="227542" y="449317"/>
                  </a:cubicBezTo>
                  <a:lnTo>
                    <a:pt x="55197" y="449317"/>
                  </a:lnTo>
                  <a:lnTo>
                    <a:pt x="55197" y="139478"/>
                  </a:lnTo>
                  <a:lnTo>
                    <a:pt x="227538" y="139478"/>
                  </a:lnTo>
                  <a:cubicBezTo>
                    <a:pt x="234064" y="139478"/>
                    <a:pt x="240381" y="137164"/>
                    <a:pt x="245362" y="132951"/>
                  </a:cubicBezTo>
                  <a:cubicBezTo>
                    <a:pt x="245850" y="132540"/>
                    <a:pt x="295171" y="91101"/>
                    <a:pt x="370255" y="52097"/>
                  </a:cubicBezTo>
                  <a:cubicBezTo>
                    <a:pt x="383782" y="45071"/>
                    <a:pt x="389048" y="28408"/>
                    <a:pt x="382026" y="14881"/>
                  </a:cubicBezTo>
                  <a:cubicBezTo>
                    <a:pt x="374997" y="1359"/>
                    <a:pt x="358341" y="-3915"/>
                    <a:pt x="344811" y="3114"/>
                  </a:cubicBezTo>
                  <a:cubicBezTo>
                    <a:pt x="281501" y="36003"/>
                    <a:pt x="235574" y="70251"/>
                    <a:pt x="217776" y="84281"/>
                  </a:cubicBezTo>
                  <a:lnTo>
                    <a:pt x="27600" y="84281"/>
                  </a:lnTo>
                  <a:cubicBezTo>
                    <a:pt x="12359" y="84281"/>
                    <a:pt x="0" y="96639"/>
                    <a:pt x="0" y="111881"/>
                  </a:cubicBezTo>
                  <a:lnTo>
                    <a:pt x="0" y="476917"/>
                  </a:lnTo>
                  <a:cubicBezTo>
                    <a:pt x="0" y="492159"/>
                    <a:pt x="12355" y="504518"/>
                    <a:pt x="27600" y="504518"/>
                  </a:cubicBezTo>
                  <a:lnTo>
                    <a:pt x="226308" y="504518"/>
                  </a:lnTo>
                  <a:lnTo>
                    <a:pt x="851176" y="560302"/>
                  </a:lnTo>
                  <a:cubicBezTo>
                    <a:pt x="865290" y="561562"/>
                    <a:pt x="879371" y="562164"/>
                    <a:pt x="893456" y="562164"/>
                  </a:cubicBezTo>
                  <a:cubicBezTo>
                    <a:pt x="1072654" y="562164"/>
                    <a:pt x="1248984" y="464404"/>
                    <a:pt x="1405881" y="377417"/>
                  </a:cubicBezTo>
                  <a:cubicBezTo>
                    <a:pt x="1424943" y="366850"/>
                    <a:pt x="1443765" y="356413"/>
                    <a:pt x="1462327" y="346294"/>
                  </a:cubicBezTo>
                  <a:cubicBezTo>
                    <a:pt x="1475710" y="339000"/>
                    <a:pt x="1480650" y="322238"/>
                    <a:pt x="1473356" y="308855"/>
                  </a:cubicBezTo>
                  <a:cubicBezTo>
                    <a:pt x="1466066" y="295464"/>
                    <a:pt x="1449307" y="290528"/>
                    <a:pt x="1435917" y="297822"/>
                  </a:cubicBezTo>
                  <a:close/>
                </a:path>
              </a:pathLst>
            </a:custGeom>
            <a:noFill/>
            <a:ln w="12700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5D17A91-B0BA-0167-95C9-F91AA52769FD}"/>
                </a:ext>
              </a:extLst>
            </p:cNvPr>
            <p:cNvSpPr/>
            <p:nvPr/>
          </p:nvSpPr>
          <p:spPr>
            <a:xfrm>
              <a:off x="1096564" y="1935027"/>
              <a:ext cx="1448977" cy="527700"/>
            </a:xfrm>
            <a:custGeom>
              <a:avLst/>
              <a:gdLst>
                <a:gd name="connsiteX0" fmla="*/ 1427673 w 1448977"/>
                <a:gd name="connsiteY0" fmla="*/ 222621 h 527700"/>
                <a:gd name="connsiteX1" fmla="*/ 1303073 w 1448977"/>
                <a:gd name="connsiteY1" fmla="*/ 188763 h 527700"/>
                <a:gd name="connsiteX2" fmla="*/ 1285503 w 1448977"/>
                <a:gd name="connsiteY2" fmla="*/ 139262 h 527700"/>
                <a:gd name="connsiteX3" fmla="*/ 1163466 w 1448977"/>
                <a:gd name="connsiteY3" fmla="*/ 110306 h 527700"/>
                <a:gd name="connsiteX4" fmla="*/ 1097828 w 1448977"/>
                <a:gd name="connsiteY4" fmla="*/ 144900 h 527700"/>
                <a:gd name="connsiteX5" fmla="*/ 1084335 w 1448977"/>
                <a:gd name="connsiteY5" fmla="*/ 100923 h 527700"/>
                <a:gd name="connsiteX6" fmla="*/ 958354 w 1448977"/>
                <a:gd name="connsiteY6" fmla="*/ 66697 h 527700"/>
                <a:gd name="connsiteX7" fmla="*/ 909294 w 1448977"/>
                <a:gd name="connsiteY7" fmla="*/ 93295 h 527700"/>
                <a:gd name="connsiteX8" fmla="*/ 890420 w 1448977"/>
                <a:gd name="connsiteY8" fmla="*/ 39938 h 527700"/>
                <a:gd name="connsiteX9" fmla="*/ 766570 w 1448977"/>
                <a:gd name="connsiteY9" fmla="*/ 11302 h 527700"/>
                <a:gd name="connsiteX10" fmla="*/ 412382 w 1448977"/>
                <a:gd name="connsiteY10" fmla="*/ 197067 h 527700"/>
                <a:gd name="connsiteX11" fmla="*/ 97228 w 1448977"/>
                <a:gd name="connsiteY11" fmla="*/ 168034 h 527700"/>
                <a:gd name="connsiteX12" fmla="*/ 18857 w 1448977"/>
                <a:gd name="connsiteY12" fmla="*/ 188524 h 527700"/>
                <a:gd name="connsiteX13" fmla="*/ 1430 w 1448977"/>
                <a:gd name="connsiteY13" fmla="*/ 223447 h 527700"/>
                <a:gd name="connsiteX14" fmla="*/ 36357 w 1448977"/>
                <a:gd name="connsiteY14" fmla="*/ 240874 h 527700"/>
                <a:gd name="connsiteX15" fmla="*/ 107328 w 1448977"/>
                <a:gd name="connsiteY15" fmla="*/ 222302 h 527700"/>
                <a:gd name="connsiteX16" fmla="*/ 402532 w 1448977"/>
                <a:gd name="connsiteY16" fmla="*/ 252638 h 527700"/>
                <a:gd name="connsiteX17" fmla="*/ 413844 w 1448977"/>
                <a:gd name="connsiteY17" fmla="*/ 255062 h 527700"/>
                <a:gd name="connsiteX18" fmla="*/ 782509 w 1448977"/>
                <a:gd name="connsiteY18" fmla="*/ 255062 h 527700"/>
                <a:gd name="connsiteX19" fmla="*/ 830012 w 1448977"/>
                <a:gd name="connsiteY19" fmla="*/ 302701 h 527700"/>
                <a:gd name="connsiteX20" fmla="*/ 788462 w 1448977"/>
                <a:gd name="connsiteY20" fmla="*/ 349961 h 527700"/>
                <a:gd name="connsiteX21" fmla="*/ 321204 w 1448977"/>
                <a:gd name="connsiteY21" fmla="*/ 409143 h 527700"/>
                <a:gd name="connsiteX22" fmla="*/ 297074 w 1448977"/>
                <a:gd name="connsiteY22" fmla="*/ 436603 h 527700"/>
                <a:gd name="connsiteX23" fmla="*/ 321369 w 1448977"/>
                <a:gd name="connsiteY23" fmla="*/ 463921 h 527700"/>
                <a:gd name="connsiteX24" fmla="*/ 519816 w 1448977"/>
                <a:gd name="connsiteY24" fmla="*/ 487841 h 527700"/>
                <a:gd name="connsiteX25" fmla="*/ 1072420 w 1448977"/>
                <a:gd name="connsiteY25" fmla="*/ 379401 h 527700"/>
                <a:gd name="connsiteX26" fmla="*/ 1320404 w 1448977"/>
                <a:gd name="connsiteY26" fmla="*/ 241547 h 527700"/>
                <a:gd name="connsiteX27" fmla="*/ 1383604 w 1448977"/>
                <a:gd name="connsiteY27" fmla="*/ 255863 h 527700"/>
                <a:gd name="connsiteX28" fmla="*/ 1367529 w 1448977"/>
                <a:gd name="connsiteY28" fmla="*/ 330488 h 527700"/>
                <a:gd name="connsiteX29" fmla="*/ 1101453 w 1448977"/>
                <a:gd name="connsiteY29" fmla="*/ 475486 h 527700"/>
                <a:gd name="connsiteX30" fmla="*/ 1127867 w 1448977"/>
                <a:gd name="connsiteY30" fmla="*/ 523955 h 527700"/>
                <a:gd name="connsiteX31" fmla="*/ 1393943 w 1448977"/>
                <a:gd name="connsiteY31" fmla="*/ 378957 h 527700"/>
                <a:gd name="connsiteX32" fmla="*/ 1446587 w 1448977"/>
                <a:gd name="connsiteY32" fmla="*/ 308566 h 527700"/>
                <a:gd name="connsiteX33" fmla="*/ 1427673 w 1448977"/>
                <a:gd name="connsiteY33" fmla="*/ 222621 h 527700"/>
                <a:gd name="connsiteX34" fmla="*/ 792209 w 1448977"/>
                <a:gd name="connsiteY34" fmla="*/ 60182 h 527700"/>
                <a:gd name="connsiteX35" fmla="*/ 845944 w 1448977"/>
                <a:gd name="connsiteY35" fmla="*/ 72625 h 527700"/>
                <a:gd name="connsiteX36" fmla="*/ 832013 w 1448977"/>
                <a:gd name="connsiteY36" fmla="*/ 135193 h 527700"/>
                <a:gd name="connsiteX37" fmla="*/ 712724 w 1448977"/>
                <a:gd name="connsiteY37" fmla="*/ 199865 h 527700"/>
                <a:gd name="connsiteX38" fmla="*/ 525891 w 1448977"/>
                <a:gd name="connsiteY38" fmla="*/ 199865 h 527700"/>
                <a:gd name="connsiteX39" fmla="*/ 817311 w 1448977"/>
                <a:gd name="connsiteY39" fmla="*/ 205951 h 527700"/>
                <a:gd name="connsiteX40" fmla="*/ 984661 w 1448977"/>
                <a:gd name="connsiteY40" fmla="*/ 115221 h 527700"/>
                <a:gd name="connsiteX41" fmla="*/ 1037107 w 1448977"/>
                <a:gd name="connsiteY41" fmla="*/ 129496 h 527700"/>
                <a:gd name="connsiteX42" fmla="*/ 1021741 w 1448977"/>
                <a:gd name="connsiteY42" fmla="*/ 185002 h 527700"/>
                <a:gd name="connsiteX43" fmla="*/ 876589 w 1448977"/>
                <a:gd name="connsiteY43" fmla="*/ 261504 h 527700"/>
                <a:gd name="connsiteX44" fmla="*/ 817311 w 1448977"/>
                <a:gd name="connsiteY44" fmla="*/ 205951 h 527700"/>
                <a:gd name="connsiteX45" fmla="*/ 1045602 w 1448977"/>
                <a:gd name="connsiteY45" fmla="*/ 331157 h 527700"/>
                <a:gd name="connsiteX46" fmla="*/ 551107 w 1448977"/>
                <a:gd name="connsiteY46" fmla="*/ 435659 h 527700"/>
                <a:gd name="connsiteX47" fmla="*/ 795400 w 1448977"/>
                <a:gd name="connsiteY47" fmla="*/ 404717 h 527700"/>
                <a:gd name="connsiteX48" fmla="*/ 883703 w 1448977"/>
                <a:gd name="connsiteY48" fmla="*/ 320146 h 527700"/>
                <a:gd name="connsiteX49" fmla="*/ 1189201 w 1448977"/>
                <a:gd name="connsiteY49" fmla="*/ 159135 h 527700"/>
                <a:gd name="connsiteX50" fmla="*/ 1240586 w 1448977"/>
                <a:gd name="connsiteY50" fmla="*/ 171343 h 527700"/>
                <a:gd name="connsiteX51" fmla="*/ 1227382 w 1448977"/>
                <a:gd name="connsiteY51" fmla="*/ 230102 h 52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448977" h="527700">
                  <a:moveTo>
                    <a:pt x="1427673" y="222621"/>
                  </a:moveTo>
                  <a:cubicBezTo>
                    <a:pt x="1398328" y="183724"/>
                    <a:pt x="1347200" y="170289"/>
                    <a:pt x="1303073" y="188763"/>
                  </a:cubicBezTo>
                  <a:cubicBezTo>
                    <a:pt x="1301945" y="171112"/>
                    <a:pt x="1295970" y="153916"/>
                    <a:pt x="1285503" y="139262"/>
                  </a:cubicBezTo>
                  <a:cubicBezTo>
                    <a:pt x="1257906" y="100629"/>
                    <a:pt x="1205442" y="88182"/>
                    <a:pt x="1163466" y="110306"/>
                  </a:cubicBezTo>
                  <a:lnTo>
                    <a:pt x="1097828" y="144900"/>
                  </a:lnTo>
                  <a:cubicBezTo>
                    <a:pt x="1096987" y="129485"/>
                    <a:pt x="1092440" y="114317"/>
                    <a:pt x="1084335" y="100923"/>
                  </a:cubicBezTo>
                  <a:cubicBezTo>
                    <a:pt x="1058148" y="57633"/>
                    <a:pt x="1002812" y="42600"/>
                    <a:pt x="958354" y="66697"/>
                  </a:cubicBezTo>
                  <a:lnTo>
                    <a:pt x="909294" y="93295"/>
                  </a:lnTo>
                  <a:cubicBezTo>
                    <a:pt x="908409" y="74222"/>
                    <a:pt x="901949" y="55631"/>
                    <a:pt x="890420" y="39938"/>
                  </a:cubicBezTo>
                  <a:cubicBezTo>
                    <a:pt x="861652" y="790"/>
                    <a:pt x="809566" y="-11252"/>
                    <a:pt x="766570" y="11302"/>
                  </a:cubicBezTo>
                  <a:lnTo>
                    <a:pt x="412382" y="197067"/>
                  </a:lnTo>
                  <a:cubicBezTo>
                    <a:pt x="372552" y="181773"/>
                    <a:pt x="245580" y="140415"/>
                    <a:pt x="97228" y="168034"/>
                  </a:cubicBezTo>
                  <a:cubicBezTo>
                    <a:pt x="71637" y="172801"/>
                    <a:pt x="45271" y="179691"/>
                    <a:pt x="18857" y="188524"/>
                  </a:cubicBezTo>
                  <a:cubicBezTo>
                    <a:pt x="4401" y="193357"/>
                    <a:pt x="-3400" y="208992"/>
                    <a:pt x="1430" y="223447"/>
                  </a:cubicBezTo>
                  <a:cubicBezTo>
                    <a:pt x="6267" y="237903"/>
                    <a:pt x="21909" y="245700"/>
                    <a:pt x="36357" y="240874"/>
                  </a:cubicBezTo>
                  <a:cubicBezTo>
                    <a:pt x="60362" y="232850"/>
                    <a:pt x="84238" y="226602"/>
                    <a:pt x="107328" y="222302"/>
                  </a:cubicBezTo>
                  <a:cubicBezTo>
                    <a:pt x="265695" y="192814"/>
                    <a:pt x="401221" y="252054"/>
                    <a:pt x="402532" y="252638"/>
                  </a:cubicBezTo>
                  <a:cubicBezTo>
                    <a:pt x="406091" y="254236"/>
                    <a:pt x="409944" y="255062"/>
                    <a:pt x="413844" y="255062"/>
                  </a:cubicBezTo>
                  <a:lnTo>
                    <a:pt x="782509" y="255062"/>
                  </a:lnTo>
                  <a:cubicBezTo>
                    <a:pt x="808703" y="255062"/>
                    <a:pt x="830012" y="276433"/>
                    <a:pt x="830012" y="302701"/>
                  </a:cubicBezTo>
                  <a:cubicBezTo>
                    <a:pt x="830012" y="326643"/>
                    <a:pt x="812148" y="346960"/>
                    <a:pt x="788462" y="349961"/>
                  </a:cubicBezTo>
                  <a:lnTo>
                    <a:pt x="321204" y="409143"/>
                  </a:lnTo>
                  <a:cubicBezTo>
                    <a:pt x="307380" y="410894"/>
                    <a:pt x="297030" y="422673"/>
                    <a:pt x="297074" y="436603"/>
                  </a:cubicBezTo>
                  <a:cubicBezTo>
                    <a:pt x="297115" y="450537"/>
                    <a:pt x="307538" y="462253"/>
                    <a:pt x="321369" y="463921"/>
                  </a:cubicBezTo>
                  <a:lnTo>
                    <a:pt x="519816" y="487841"/>
                  </a:lnTo>
                  <a:cubicBezTo>
                    <a:pt x="712048" y="511005"/>
                    <a:pt x="903131" y="473510"/>
                    <a:pt x="1072420" y="379401"/>
                  </a:cubicBezTo>
                  <a:lnTo>
                    <a:pt x="1320404" y="241547"/>
                  </a:lnTo>
                  <a:cubicBezTo>
                    <a:pt x="1342220" y="230180"/>
                    <a:pt x="1368759" y="236181"/>
                    <a:pt x="1383604" y="255863"/>
                  </a:cubicBezTo>
                  <a:cubicBezTo>
                    <a:pt x="1402151" y="279272"/>
                    <a:pt x="1394090" y="316815"/>
                    <a:pt x="1367529" y="330488"/>
                  </a:cubicBezTo>
                  <a:lnTo>
                    <a:pt x="1101453" y="475486"/>
                  </a:lnTo>
                  <a:cubicBezTo>
                    <a:pt x="1069640" y="492204"/>
                    <a:pt x="1096906" y="541580"/>
                    <a:pt x="1127867" y="523955"/>
                  </a:cubicBezTo>
                  <a:lnTo>
                    <a:pt x="1393943" y="378957"/>
                  </a:lnTo>
                  <a:cubicBezTo>
                    <a:pt x="1420908" y="364266"/>
                    <a:pt x="1440094" y="338608"/>
                    <a:pt x="1446587" y="308566"/>
                  </a:cubicBezTo>
                  <a:cubicBezTo>
                    <a:pt x="1453084" y="278494"/>
                    <a:pt x="1446190" y="247169"/>
                    <a:pt x="1427673" y="222621"/>
                  </a:cubicBezTo>
                  <a:close/>
                  <a:moveTo>
                    <a:pt x="792209" y="60182"/>
                  </a:moveTo>
                  <a:cubicBezTo>
                    <a:pt x="810858" y="50401"/>
                    <a:pt x="833453" y="55631"/>
                    <a:pt x="845944" y="72625"/>
                  </a:cubicBezTo>
                  <a:cubicBezTo>
                    <a:pt x="861288" y="92413"/>
                    <a:pt x="854321" y="123804"/>
                    <a:pt x="832013" y="135193"/>
                  </a:cubicBezTo>
                  <a:lnTo>
                    <a:pt x="712724" y="199865"/>
                  </a:lnTo>
                  <a:lnTo>
                    <a:pt x="525891" y="199865"/>
                  </a:lnTo>
                  <a:close/>
                  <a:moveTo>
                    <a:pt x="817311" y="205951"/>
                  </a:moveTo>
                  <a:lnTo>
                    <a:pt x="984661" y="115221"/>
                  </a:lnTo>
                  <a:cubicBezTo>
                    <a:pt x="1003168" y="105190"/>
                    <a:pt x="1026200" y="111463"/>
                    <a:pt x="1037107" y="129496"/>
                  </a:cubicBezTo>
                  <a:cubicBezTo>
                    <a:pt x="1048996" y="148168"/>
                    <a:pt x="1041555" y="175129"/>
                    <a:pt x="1021741" y="185002"/>
                  </a:cubicBezTo>
                  <a:lnTo>
                    <a:pt x="876589" y="261504"/>
                  </a:lnTo>
                  <a:cubicBezTo>
                    <a:pt x="865314" y="235791"/>
                    <a:pt x="843843" y="215547"/>
                    <a:pt x="817311" y="205951"/>
                  </a:cubicBezTo>
                  <a:close/>
                  <a:moveTo>
                    <a:pt x="1045602" y="331157"/>
                  </a:moveTo>
                  <a:cubicBezTo>
                    <a:pt x="893799" y="415548"/>
                    <a:pt x="723335" y="451492"/>
                    <a:pt x="551107" y="435659"/>
                  </a:cubicBezTo>
                  <a:lnTo>
                    <a:pt x="795400" y="404717"/>
                  </a:lnTo>
                  <a:cubicBezTo>
                    <a:pt x="840721" y="398980"/>
                    <a:pt x="876155" y="363950"/>
                    <a:pt x="883703" y="320146"/>
                  </a:cubicBezTo>
                  <a:lnTo>
                    <a:pt x="1189201" y="159135"/>
                  </a:lnTo>
                  <a:cubicBezTo>
                    <a:pt x="1206867" y="149825"/>
                    <a:pt x="1228958" y="155069"/>
                    <a:pt x="1240586" y="171343"/>
                  </a:cubicBezTo>
                  <a:cubicBezTo>
                    <a:pt x="1254663" y="190048"/>
                    <a:pt x="1248126" y="219239"/>
                    <a:pt x="1227382" y="230102"/>
                  </a:cubicBezTo>
                  <a:close/>
                </a:path>
              </a:pathLst>
            </a:custGeom>
            <a:noFill/>
            <a:ln w="12700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E42E4B5-4E87-8687-BCBE-C3CDE57B2B9A}"/>
                </a:ext>
              </a:extLst>
            </p:cNvPr>
            <p:cNvSpPr/>
            <p:nvPr/>
          </p:nvSpPr>
          <p:spPr>
            <a:xfrm>
              <a:off x="1100076" y="1181707"/>
              <a:ext cx="415469" cy="415477"/>
            </a:xfrm>
            <a:custGeom>
              <a:avLst/>
              <a:gdLst>
                <a:gd name="connsiteX0" fmla="*/ 207735 w 415469"/>
                <a:gd name="connsiteY0" fmla="*/ 415477 h 415477"/>
                <a:gd name="connsiteX1" fmla="*/ 296856 w 415469"/>
                <a:gd name="connsiteY1" fmla="*/ 395435 h 415477"/>
                <a:gd name="connsiteX2" fmla="*/ 309928 w 415469"/>
                <a:gd name="connsiteY2" fmla="*/ 358657 h 415477"/>
                <a:gd name="connsiteX3" fmla="*/ 273149 w 415469"/>
                <a:gd name="connsiteY3" fmla="*/ 345586 h 415477"/>
                <a:gd name="connsiteX4" fmla="*/ 207735 w 415469"/>
                <a:gd name="connsiteY4" fmla="*/ 360277 h 415477"/>
                <a:gd name="connsiteX5" fmla="*/ 55197 w 415469"/>
                <a:gd name="connsiteY5" fmla="*/ 207739 h 415477"/>
                <a:gd name="connsiteX6" fmla="*/ 207735 w 415469"/>
                <a:gd name="connsiteY6" fmla="*/ 55204 h 415477"/>
                <a:gd name="connsiteX7" fmla="*/ 360273 w 415469"/>
                <a:gd name="connsiteY7" fmla="*/ 207739 h 415477"/>
                <a:gd name="connsiteX8" fmla="*/ 341392 w 415469"/>
                <a:gd name="connsiteY8" fmla="*/ 281314 h 415477"/>
                <a:gd name="connsiteX9" fmla="*/ 352219 w 415469"/>
                <a:gd name="connsiteY9" fmla="*/ 318812 h 415477"/>
                <a:gd name="connsiteX10" fmla="*/ 389717 w 415469"/>
                <a:gd name="connsiteY10" fmla="*/ 307985 h 415477"/>
                <a:gd name="connsiteX11" fmla="*/ 415470 w 415469"/>
                <a:gd name="connsiteY11" fmla="*/ 207735 h 415477"/>
                <a:gd name="connsiteX12" fmla="*/ 207735 w 415469"/>
                <a:gd name="connsiteY12" fmla="*/ 0 h 415477"/>
                <a:gd name="connsiteX13" fmla="*/ 0 w 415469"/>
                <a:gd name="connsiteY13" fmla="*/ 207735 h 415477"/>
                <a:gd name="connsiteX14" fmla="*/ 207735 w 415469"/>
                <a:gd name="connsiteY14" fmla="*/ 415477 h 41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5469" h="415477">
                  <a:moveTo>
                    <a:pt x="207735" y="415477"/>
                  </a:moveTo>
                  <a:cubicBezTo>
                    <a:pt x="238905" y="415477"/>
                    <a:pt x="268893" y="408734"/>
                    <a:pt x="296856" y="395435"/>
                  </a:cubicBezTo>
                  <a:cubicBezTo>
                    <a:pt x="310622" y="388891"/>
                    <a:pt x="316476" y="372422"/>
                    <a:pt x="309928" y="358657"/>
                  </a:cubicBezTo>
                  <a:cubicBezTo>
                    <a:pt x="303383" y="344895"/>
                    <a:pt x="286925" y="339037"/>
                    <a:pt x="273149" y="345586"/>
                  </a:cubicBezTo>
                  <a:cubicBezTo>
                    <a:pt x="252652" y="355333"/>
                    <a:pt x="230641" y="360277"/>
                    <a:pt x="207735" y="360277"/>
                  </a:cubicBezTo>
                  <a:cubicBezTo>
                    <a:pt x="123627" y="360277"/>
                    <a:pt x="55197" y="291847"/>
                    <a:pt x="55197" y="207739"/>
                  </a:cubicBezTo>
                  <a:cubicBezTo>
                    <a:pt x="55197" y="123630"/>
                    <a:pt x="123627" y="55204"/>
                    <a:pt x="207735" y="55204"/>
                  </a:cubicBezTo>
                  <a:cubicBezTo>
                    <a:pt x="291843" y="55204"/>
                    <a:pt x="360273" y="123630"/>
                    <a:pt x="360273" y="207739"/>
                  </a:cubicBezTo>
                  <a:cubicBezTo>
                    <a:pt x="360273" y="233491"/>
                    <a:pt x="353743" y="258932"/>
                    <a:pt x="341392" y="281314"/>
                  </a:cubicBezTo>
                  <a:cubicBezTo>
                    <a:pt x="334028" y="294660"/>
                    <a:pt x="338872" y="311448"/>
                    <a:pt x="352219" y="318812"/>
                  </a:cubicBezTo>
                  <a:cubicBezTo>
                    <a:pt x="365569" y="326176"/>
                    <a:pt x="382357" y="321328"/>
                    <a:pt x="389717" y="307985"/>
                  </a:cubicBezTo>
                  <a:cubicBezTo>
                    <a:pt x="406564" y="277457"/>
                    <a:pt x="415470" y="242794"/>
                    <a:pt x="415470" y="207735"/>
                  </a:cubicBezTo>
                  <a:cubicBezTo>
                    <a:pt x="415470" y="93187"/>
                    <a:pt x="322279" y="0"/>
                    <a:pt x="207735" y="0"/>
                  </a:cubicBezTo>
                  <a:cubicBezTo>
                    <a:pt x="93191" y="0"/>
                    <a:pt x="0" y="93187"/>
                    <a:pt x="0" y="207735"/>
                  </a:cubicBezTo>
                  <a:cubicBezTo>
                    <a:pt x="0" y="322283"/>
                    <a:pt x="93191" y="415477"/>
                    <a:pt x="207735" y="415477"/>
                  </a:cubicBezTo>
                  <a:close/>
                </a:path>
              </a:pathLst>
            </a:custGeom>
            <a:noFill/>
            <a:ln w="12700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8FA8363-75BB-7EC5-9DCC-2887085C18B3}"/>
                </a:ext>
              </a:extLst>
            </p:cNvPr>
            <p:cNvSpPr/>
            <p:nvPr/>
          </p:nvSpPr>
          <p:spPr>
            <a:xfrm>
              <a:off x="830170" y="847278"/>
              <a:ext cx="1550335" cy="1084344"/>
            </a:xfrm>
            <a:custGeom>
              <a:avLst/>
              <a:gdLst>
                <a:gd name="connsiteX0" fmla="*/ 46673 w 1550335"/>
                <a:gd name="connsiteY0" fmla="*/ 624226 h 1084344"/>
                <a:gd name="connsiteX1" fmla="*/ 103875 w 1550335"/>
                <a:gd name="connsiteY1" fmla="*/ 632823 h 1084344"/>
                <a:gd name="connsiteX2" fmla="*/ 149262 w 1550335"/>
                <a:gd name="connsiteY2" fmla="*/ 742339 h 1084344"/>
                <a:gd name="connsiteX3" fmla="*/ 114875 w 1550335"/>
                <a:gd name="connsiteY3" fmla="*/ 788891 h 1084344"/>
                <a:gd name="connsiteX4" fmla="*/ 120211 w 1550335"/>
                <a:gd name="connsiteY4" fmla="*/ 860222 h 1084344"/>
                <a:gd name="connsiteX5" fmla="*/ 159590 w 1550335"/>
                <a:gd name="connsiteY5" fmla="*/ 899604 h 1084344"/>
                <a:gd name="connsiteX6" fmla="*/ 230924 w 1550335"/>
                <a:gd name="connsiteY6" fmla="*/ 904937 h 1084344"/>
                <a:gd name="connsiteX7" fmla="*/ 277472 w 1550335"/>
                <a:gd name="connsiteY7" fmla="*/ 870553 h 1084344"/>
                <a:gd name="connsiteX8" fmla="*/ 386988 w 1550335"/>
                <a:gd name="connsiteY8" fmla="*/ 915944 h 1084344"/>
                <a:gd name="connsiteX9" fmla="*/ 395589 w 1550335"/>
                <a:gd name="connsiteY9" fmla="*/ 973146 h 1084344"/>
                <a:gd name="connsiteX10" fmla="*/ 449798 w 1550335"/>
                <a:gd name="connsiteY10" fmla="*/ 1019815 h 1084344"/>
                <a:gd name="connsiteX11" fmla="*/ 505487 w 1550335"/>
                <a:gd name="connsiteY11" fmla="*/ 1019815 h 1084344"/>
                <a:gd name="connsiteX12" fmla="*/ 559696 w 1550335"/>
                <a:gd name="connsiteY12" fmla="*/ 973143 h 1084344"/>
                <a:gd name="connsiteX13" fmla="*/ 568294 w 1550335"/>
                <a:gd name="connsiteY13" fmla="*/ 915944 h 1084344"/>
                <a:gd name="connsiteX14" fmla="*/ 677810 w 1550335"/>
                <a:gd name="connsiteY14" fmla="*/ 870553 h 1084344"/>
                <a:gd name="connsiteX15" fmla="*/ 724362 w 1550335"/>
                <a:gd name="connsiteY15" fmla="*/ 904941 h 1084344"/>
                <a:gd name="connsiteX16" fmla="*/ 795693 w 1550335"/>
                <a:gd name="connsiteY16" fmla="*/ 899608 h 1084344"/>
                <a:gd name="connsiteX17" fmla="*/ 835071 w 1550335"/>
                <a:gd name="connsiteY17" fmla="*/ 860229 h 1084344"/>
                <a:gd name="connsiteX18" fmla="*/ 840408 w 1550335"/>
                <a:gd name="connsiteY18" fmla="*/ 788895 h 1084344"/>
                <a:gd name="connsiteX19" fmla="*/ 806024 w 1550335"/>
                <a:gd name="connsiteY19" fmla="*/ 742347 h 1084344"/>
                <a:gd name="connsiteX20" fmla="*/ 851411 w 1550335"/>
                <a:gd name="connsiteY20" fmla="*/ 632831 h 1084344"/>
                <a:gd name="connsiteX21" fmla="*/ 908610 w 1550335"/>
                <a:gd name="connsiteY21" fmla="*/ 624233 h 1084344"/>
                <a:gd name="connsiteX22" fmla="*/ 955282 w 1550335"/>
                <a:gd name="connsiteY22" fmla="*/ 570020 h 1084344"/>
                <a:gd name="connsiteX23" fmla="*/ 955282 w 1550335"/>
                <a:gd name="connsiteY23" fmla="*/ 569771 h 1084344"/>
                <a:gd name="connsiteX24" fmla="*/ 1119070 w 1550335"/>
                <a:gd name="connsiteY24" fmla="*/ 569771 h 1084344"/>
                <a:gd name="connsiteX25" fmla="*/ 1119070 w 1550335"/>
                <a:gd name="connsiteY25" fmla="*/ 921549 h 1084344"/>
                <a:gd name="connsiteX26" fmla="*/ 1183434 w 1550335"/>
                <a:gd name="connsiteY26" fmla="*/ 985913 h 1084344"/>
                <a:gd name="connsiteX27" fmla="*/ 1301342 w 1550335"/>
                <a:gd name="connsiteY27" fmla="*/ 985913 h 1084344"/>
                <a:gd name="connsiteX28" fmla="*/ 1424293 w 1550335"/>
                <a:gd name="connsiteY28" fmla="*/ 1084344 h 1084344"/>
                <a:gd name="connsiteX29" fmla="*/ 1550328 w 1550335"/>
                <a:gd name="connsiteY29" fmla="*/ 958309 h 1084344"/>
                <a:gd name="connsiteX30" fmla="*/ 1424293 w 1550335"/>
                <a:gd name="connsiteY30" fmla="*/ 832273 h 1084344"/>
                <a:gd name="connsiteX31" fmla="*/ 1301338 w 1550335"/>
                <a:gd name="connsiteY31" fmla="*/ 930712 h 1084344"/>
                <a:gd name="connsiteX32" fmla="*/ 1183430 w 1550335"/>
                <a:gd name="connsiteY32" fmla="*/ 930712 h 1084344"/>
                <a:gd name="connsiteX33" fmla="*/ 1174267 w 1550335"/>
                <a:gd name="connsiteY33" fmla="*/ 921549 h 1084344"/>
                <a:gd name="connsiteX34" fmla="*/ 1174267 w 1550335"/>
                <a:gd name="connsiteY34" fmla="*/ 569771 h 1084344"/>
                <a:gd name="connsiteX35" fmla="*/ 1301338 w 1550335"/>
                <a:gd name="connsiteY35" fmla="*/ 569771 h 1084344"/>
                <a:gd name="connsiteX36" fmla="*/ 1424293 w 1550335"/>
                <a:gd name="connsiteY36" fmla="*/ 668210 h 1084344"/>
                <a:gd name="connsiteX37" fmla="*/ 1550328 w 1550335"/>
                <a:gd name="connsiteY37" fmla="*/ 542174 h 1084344"/>
                <a:gd name="connsiteX38" fmla="*/ 1424293 w 1550335"/>
                <a:gd name="connsiteY38" fmla="*/ 416138 h 1084344"/>
                <a:gd name="connsiteX39" fmla="*/ 1301338 w 1550335"/>
                <a:gd name="connsiteY39" fmla="*/ 514570 h 1084344"/>
                <a:gd name="connsiteX40" fmla="*/ 1174274 w 1550335"/>
                <a:gd name="connsiteY40" fmla="*/ 514570 h 1084344"/>
                <a:gd name="connsiteX41" fmla="*/ 1174274 w 1550335"/>
                <a:gd name="connsiteY41" fmla="*/ 162799 h 1084344"/>
                <a:gd name="connsiteX42" fmla="*/ 1183437 w 1550335"/>
                <a:gd name="connsiteY42" fmla="*/ 153636 h 1084344"/>
                <a:gd name="connsiteX43" fmla="*/ 1301346 w 1550335"/>
                <a:gd name="connsiteY43" fmla="*/ 153636 h 1084344"/>
                <a:gd name="connsiteX44" fmla="*/ 1424300 w 1550335"/>
                <a:gd name="connsiteY44" fmla="*/ 252072 h 1084344"/>
                <a:gd name="connsiteX45" fmla="*/ 1550336 w 1550335"/>
                <a:gd name="connsiteY45" fmla="*/ 126036 h 1084344"/>
                <a:gd name="connsiteX46" fmla="*/ 1424296 w 1550335"/>
                <a:gd name="connsiteY46" fmla="*/ 0 h 1084344"/>
                <a:gd name="connsiteX47" fmla="*/ 1301342 w 1550335"/>
                <a:gd name="connsiteY47" fmla="*/ 98436 h 1084344"/>
                <a:gd name="connsiteX48" fmla="*/ 1183434 w 1550335"/>
                <a:gd name="connsiteY48" fmla="*/ 98436 h 1084344"/>
                <a:gd name="connsiteX49" fmla="*/ 1119070 w 1550335"/>
                <a:gd name="connsiteY49" fmla="*/ 162796 h 1084344"/>
                <a:gd name="connsiteX50" fmla="*/ 1119070 w 1550335"/>
                <a:gd name="connsiteY50" fmla="*/ 514566 h 1084344"/>
                <a:gd name="connsiteX51" fmla="*/ 955282 w 1550335"/>
                <a:gd name="connsiteY51" fmla="*/ 514566 h 1084344"/>
                <a:gd name="connsiteX52" fmla="*/ 955282 w 1550335"/>
                <a:gd name="connsiteY52" fmla="*/ 514324 h 1084344"/>
                <a:gd name="connsiteX53" fmla="*/ 908613 w 1550335"/>
                <a:gd name="connsiteY53" fmla="*/ 460115 h 1084344"/>
                <a:gd name="connsiteX54" fmla="*/ 851411 w 1550335"/>
                <a:gd name="connsiteY54" fmla="*/ 451517 h 1084344"/>
                <a:gd name="connsiteX55" fmla="*/ 806024 w 1550335"/>
                <a:gd name="connsiteY55" fmla="*/ 342001 h 1084344"/>
                <a:gd name="connsiteX56" fmla="*/ 840408 w 1550335"/>
                <a:gd name="connsiteY56" fmla="*/ 295454 h 1084344"/>
                <a:gd name="connsiteX57" fmla="*/ 835075 w 1550335"/>
                <a:gd name="connsiteY57" fmla="*/ 224119 h 1084344"/>
                <a:gd name="connsiteX58" fmla="*/ 795696 w 1550335"/>
                <a:gd name="connsiteY58" fmla="*/ 184736 h 1084344"/>
                <a:gd name="connsiteX59" fmla="*/ 724362 w 1550335"/>
                <a:gd name="connsiteY59" fmla="*/ 179404 h 1084344"/>
                <a:gd name="connsiteX60" fmla="*/ 677814 w 1550335"/>
                <a:gd name="connsiteY60" fmla="*/ 213787 h 1084344"/>
                <a:gd name="connsiteX61" fmla="*/ 568298 w 1550335"/>
                <a:gd name="connsiteY61" fmla="*/ 168400 h 1084344"/>
                <a:gd name="connsiteX62" fmla="*/ 559700 w 1550335"/>
                <a:gd name="connsiteY62" fmla="*/ 111198 h 1084344"/>
                <a:gd name="connsiteX63" fmla="*/ 505491 w 1550335"/>
                <a:gd name="connsiteY63" fmla="*/ 64526 h 1084344"/>
                <a:gd name="connsiteX64" fmla="*/ 449798 w 1550335"/>
                <a:gd name="connsiteY64" fmla="*/ 64526 h 1084344"/>
                <a:gd name="connsiteX65" fmla="*/ 395589 w 1550335"/>
                <a:gd name="connsiteY65" fmla="*/ 111198 h 1084344"/>
                <a:gd name="connsiteX66" fmla="*/ 386988 w 1550335"/>
                <a:gd name="connsiteY66" fmla="*/ 168400 h 1084344"/>
                <a:gd name="connsiteX67" fmla="*/ 277472 w 1550335"/>
                <a:gd name="connsiteY67" fmla="*/ 213787 h 1084344"/>
                <a:gd name="connsiteX68" fmla="*/ 230924 w 1550335"/>
                <a:gd name="connsiteY68" fmla="*/ 179404 h 1084344"/>
                <a:gd name="connsiteX69" fmla="*/ 159590 w 1550335"/>
                <a:gd name="connsiteY69" fmla="*/ 184736 h 1084344"/>
                <a:gd name="connsiteX70" fmla="*/ 120211 w 1550335"/>
                <a:gd name="connsiteY70" fmla="*/ 224111 h 1084344"/>
                <a:gd name="connsiteX71" fmla="*/ 114875 w 1550335"/>
                <a:gd name="connsiteY71" fmla="*/ 295446 h 1084344"/>
                <a:gd name="connsiteX72" fmla="*/ 149258 w 1550335"/>
                <a:gd name="connsiteY72" fmla="*/ 341994 h 1084344"/>
                <a:gd name="connsiteX73" fmla="*/ 103871 w 1550335"/>
                <a:gd name="connsiteY73" fmla="*/ 451510 h 1084344"/>
                <a:gd name="connsiteX74" fmla="*/ 46669 w 1550335"/>
                <a:gd name="connsiteY74" fmla="*/ 460108 h 1084344"/>
                <a:gd name="connsiteX75" fmla="*/ 0 w 1550335"/>
                <a:gd name="connsiteY75" fmla="*/ 514317 h 1084344"/>
                <a:gd name="connsiteX76" fmla="*/ 0 w 1550335"/>
                <a:gd name="connsiteY76" fmla="*/ 570006 h 1084344"/>
                <a:gd name="connsiteX77" fmla="*/ 46673 w 1550335"/>
                <a:gd name="connsiteY77" fmla="*/ 624226 h 1084344"/>
                <a:gd name="connsiteX78" fmla="*/ 1424296 w 1550335"/>
                <a:gd name="connsiteY78" fmla="*/ 887466 h 1084344"/>
                <a:gd name="connsiteX79" fmla="*/ 1495131 w 1550335"/>
                <a:gd name="connsiteY79" fmla="*/ 958301 h 1084344"/>
                <a:gd name="connsiteX80" fmla="*/ 1424296 w 1550335"/>
                <a:gd name="connsiteY80" fmla="*/ 1029137 h 1084344"/>
                <a:gd name="connsiteX81" fmla="*/ 1353461 w 1550335"/>
                <a:gd name="connsiteY81" fmla="*/ 958301 h 1084344"/>
                <a:gd name="connsiteX82" fmla="*/ 1424296 w 1550335"/>
                <a:gd name="connsiteY82" fmla="*/ 887466 h 1084344"/>
                <a:gd name="connsiteX83" fmla="*/ 1424296 w 1550335"/>
                <a:gd name="connsiteY83" fmla="*/ 471331 h 1084344"/>
                <a:gd name="connsiteX84" fmla="*/ 1495131 w 1550335"/>
                <a:gd name="connsiteY84" fmla="*/ 542167 h 1084344"/>
                <a:gd name="connsiteX85" fmla="*/ 1424296 w 1550335"/>
                <a:gd name="connsiteY85" fmla="*/ 613002 h 1084344"/>
                <a:gd name="connsiteX86" fmla="*/ 1353461 w 1550335"/>
                <a:gd name="connsiteY86" fmla="*/ 542167 h 1084344"/>
                <a:gd name="connsiteX87" fmla="*/ 1424296 w 1550335"/>
                <a:gd name="connsiteY87" fmla="*/ 471331 h 1084344"/>
                <a:gd name="connsiteX88" fmla="*/ 1424296 w 1550335"/>
                <a:gd name="connsiteY88" fmla="*/ 55197 h 1084344"/>
                <a:gd name="connsiteX89" fmla="*/ 1495131 w 1550335"/>
                <a:gd name="connsiteY89" fmla="*/ 126032 h 1084344"/>
                <a:gd name="connsiteX90" fmla="*/ 1424296 w 1550335"/>
                <a:gd name="connsiteY90" fmla="*/ 196867 h 1084344"/>
                <a:gd name="connsiteX91" fmla="*/ 1353461 w 1550335"/>
                <a:gd name="connsiteY91" fmla="*/ 126032 h 1084344"/>
                <a:gd name="connsiteX92" fmla="*/ 1424296 w 1550335"/>
                <a:gd name="connsiteY92" fmla="*/ 55197 h 1084344"/>
                <a:gd name="connsiteX93" fmla="*/ 55197 w 1550335"/>
                <a:gd name="connsiteY93" fmla="*/ 514647 h 1084344"/>
                <a:gd name="connsiteX94" fmla="*/ 130954 w 1550335"/>
                <a:gd name="connsiteY94" fmla="*/ 503258 h 1084344"/>
                <a:gd name="connsiteX95" fmla="*/ 153978 w 1550335"/>
                <a:gd name="connsiteY95" fmla="*/ 481053 h 1084344"/>
                <a:gd name="connsiteX96" fmla="*/ 205579 w 1550335"/>
                <a:gd name="connsiteY96" fmla="*/ 356530 h 1084344"/>
                <a:gd name="connsiteX97" fmla="*/ 204995 w 1550335"/>
                <a:gd name="connsiteY97" fmla="*/ 324552 h 1084344"/>
                <a:gd name="connsiteX98" fmla="*/ 159468 w 1550335"/>
                <a:gd name="connsiteY98" fmla="*/ 262913 h 1084344"/>
                <a:gd name="connsiteX99" fmla="*/ 198388 w 1550335"/>
                <a:gd name="connsiteY99" fmla="*/ 223998 h 1084344"/>
                <a:gd name="connsiteX100" fmla="*/ 260027 w 1550335"/>
                <a:gd name="connsiteY100" fmla="*/ 269528 h 1084344"/>
                <a:gd name="connsiteX101" fmla="*/ 292001 w 1550335"/>
                <a:gd name="connsiteY101" fmla="*/ 270112 h 1084344"/>
                <a:gd name="connsiteX102" fmla="*/ 416524 w 1550335"/>
                <a:gd name="connsiteY102" fmla="*/ 218507 h 1084344"/>
                <a:gd name="connsiteX103" fmla="*/ 438729 w 1550335"/>
                <a:gd name="connsiteY103" fmla="*/ 195483 h 1084344"/>
                <a:gd name="connsiteX104" fmla="*/ 450118 w 1550335"/>
                <a:gd name="connsiteY104" fmla="*/ 119726 h 1084344"/>
                <a:gd name="connsiteX105" fmla="*/ 505157 w 1550335"/>
                <a:gd name="connsiteY105" fmla="*/ 119726 h 1084344"/>
                <a:gd name="connsiteX106" fmla="*/ 516546 w 1550335"/>
                <a:gd name="connsiteY106" fmla="*/ 195483 h 1084344"/>
                <a:gd name="connsiteX107" fmla="*/ 538751 w 1550335"/>
                <a:gd name="connsiteY107" fmla="*/ 218507 h 1084344"/>
                <a:gd name="connsiteX108" fmla="*/ 663274 w 1550335"/>
                <a:gd name="connsiteY108" fmla="*/ 270112 h 1084344"/>
                <a:gd name="connsiteX109" fmla="*/ 695252 w 1550335"/>
                <a:gd name="connsiteY109" fmla="*/ 269528 h 1084344"/>
                <a:gd name="connsiteX110" fmla="*/ 756891 w 1550335"/>
                <a:gd name="connsiteY110" fmla="*/ 223998 h 1084344"/>
                <a:gd name="connsiteX111" fmla="*/ 795810 w 1550335"/>
                <a:gd name="connsiteY111" fmla="*/ 262913 h 1084344"/>
                <a:gd name="connsiteX112" fmla="*/ 750284 w 1550335"/>
                <a:gd name="connsiteY112" fmla="*/ 324556 h 1084344"/>
                <a:gd name="connsiteX113" fmla="*/ 749700 w 1550335"/>
                <a:gd name="connsiteY113" fmla="*/ 356534 h 1084344"/>
                <a:gd name="connsiteX114" fmla="*/ 801305 w 1550335"/>
                <a:gd name="connsiteY114" fmla="*/ 481060 h 1084344"/>
                <a:gd name="connsiteX115" fmla="*/ 824329 w 1550335"/>
                <a:gd name="connsiteY115" fmla="*/ 503266 h 1084344"/>
                <a:gd name="connsiteX116" fmla="*/ 900085 w 1550335"/>
                <a:gd name="connsiteY116" fmla="*/ 514655 h 1084344"/>
                <a:gd name="connsiteX117" fmla="*/ 900085 w 1550335"/>
                <a:gd name="connsiteY117" fmla="*/ 569694 h 1084344"/>
                <a:gd name="connsiteX118" fmla="*/ 824329 w 1550335"/>
                <a:gd name="connsiteY118" fmla="*/ 581083 h 1084344"/>
                <a:gd name="connsiteX119" fmla="*/ 801305 w 1550335"/>
                <a:gd name="connsiteY119" fmla="*/ 603288 h 1084344"/>
                <a:gd name="connsiteX120" fmla="*/ 749700 w 1550335"/>
                <a:gd name="connsiteY120" fmla="*/ 727814 h 1084344"/>
                <a:gd name="connsiteX121" fmla="*/ 750284 w 1550335"/>
                <a:gd name="connsiteY121" fmla="*/ 759788 h 1084344"/>
                <a:gd name="connsiteX122" fmla="*/ 795814 w 1550335"/>
                <a:gd name="connsiteY122" fmla="*/ 821427 h 1084344"/>
                <a:gd name="connsiteX123" fmla="*/ 756894 w 1550335"/>
                <a:gd name="connsiteY123" fmla="*/ 860347 h 1084344"/>
                <a:gd name="connsiteX124" fmla="*/ 695256 w 1550335"/>
                <a:gd name="connsiteY124" fmla="*/ 814816 h 1084344"/>
                <a:gd name="connsiteX125" fmla="*/ 663277 w 1550335"/>
                <a:gd name="connsiteY125" fmla="*/ 814236 h 1084344"/>
                <a:gd name="connsiteX126" fmla="*/ 538751 w 1550335"/>
                <a:gd name="connsiteY126" fmla="*/ 865841 h 1084344"/>
                <a:gd name="connsiteX127" fmla="*/ 516546 w 1550335"/>
                <a:gd name="connsiteY127" fmla="*/ 888865 h 1084344"/>
                <a:gd name="connsiteX128" fmla="*/ 505157 w 1550335"/>
                <a:gd name="connsiteY128" fmla="*/ 964622 h 1084344"/>
                <a:gd name="connsiteX129" fmla="*/ 450118 w 1550335"/>
                <a:gd name="connsiteY129" fmla="*/ 964622 h 1084344"/>
                <a:gd name="connsiteX130" fmla="*/ 438729 w 1550335"/>
                <a:gd name="connsiteY130" fmla="*/ 888865 h 1084344"/>
                <a:gd name="connsiteX131" fmla="*/ 416524 w 1550335"/>
                <a:gd name="connsiteY131" fmla="*/ 865841 h 1084344"/>
                <a:gd name="connsiteX132" fmla="*/ 291998 w 1550335"/>
                <a:gd name="connsiteY132" fmla="*/ 814236 h 1084344"/>
                <a:gd name="connsiteX133" fmla="*/ 260023 w 1550335"/>
                <a:gd name="connsiteY133" fmla="*/ 814816 h 1084344"/>
                <a:gd name="connsiteX134" fmla="*/ 198384 w 1550335"/>
                <a:gd name="connsiteY134" fmla="*/ 860347 h 1084344"/>
                <a:gd name="connsiteX135" fmla="*/ 159465 w 1550335"/>
                <a:gd name="connsiteY135" fmla="*/ 821427 h 1084344"/>
                <a:gd name="connsiteX136" fmla="*/ 204995 w 1550335"/>
                <a:gd name="connsiteY136" fmla="*/ 759788 h 1084344"/>
                <a:gd name="connsiteX137" fmla="*/ 205579 w 1550335"/>
                <a:gd name="connsiteY137" fmla="*/ 727814 h 1084344"/>
                <a:gd name="connsiteX138" fmla="*/ 153978 w 1550335"/>
                <a:gd name="connsiteY138" fmla="*/ 603291 h 1084344"/>
                <a:gd name="connsiteX139" fmla="*/ 130954 w 1550335"/>
                <a:gd name="connsiteY139" fmla="*/ 581086 h 1084344"/>
                <a:gd name="connsiteX140" fmla="*/ 55197 w 1550335"/>
                <a:gd name="connsiteY140" fmla="*/ 569697 h 108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550335" h="1084344">
                  <a:moveTo>
                    <a:pt x="46673" y="624226"/>
                  </a:moveTo>
                  <a:lnTo>
                    <a:pt x="103875" y="632823"/>
                  </a:lnTo>
                  <a:cubicBezTo>
                    <a:pt x="113214" y="671574"/>
                    <a:pt x="128423" y="708279"/>
                    <a:pt x="149262" y="742339"/>
                  </a:cubicBezTo>
                  <a:lnTo>
                    <a:pt x="114875" y="788891"/>
                  </a:lnTo>
                  <a:cubicBezTo>
                    <a:pt x="98627" y="810890"/>
                    <a:pt x="100871" y="840889"/>
                    <a:pt x="120211" y="860222"/>
                  </a:cubicBezTo>
                  <a:lnTo>
                    <a:pt x="159590" y="899604"/>
                  </a:lnTo>
                  <a:cubicBezTo>
                    <a:pt x="178926" y="918941"/>
                    <a:pt x="208929" y="921185"/>
                    <a:pt x="230924" y="904937"/>
                  </a:cubicBezTo>
                  <a:lnTo>
                    <a:pt x="277472" y="870553"/>
                  </a:lnTo>
                  <a:cubicBezTo>
                    <a:pt x="311533" y="891392"/>
                    <a:pt x="348234" y="906604"/>
                    <a:pt x="386988" y="915944"/>
                  </a:cubicBezTo>
                  <a:lnTo>
                    <a:pt x="395589" y="973146"/>
                  </a:lnTo>
                  <a:cubicBezTo>
                    <a:pt x="399655" y="1000188"/>
                    <a:pt x="422455" y="1019815"/>
                    <a:pt x="449798" y="1019815"/>
                  </a:cubicBezTo>
                  <a:lnTo>
                    <a:pt x="505487" y="1019815"/>
                  </a:lnTo>
                  <a:cubicBezTo>
                    <a:pt x="532834" y="1019815"/>
                    <a:pt x="555634" y="1000188"/>
                    <a:pt x="559696" y="973143"/>
                  </a:cubicBezTo>
                  <a:lnTo>
                    <a:pt x="568294" y="915944"/>
                  </a:lnTo>
                  <a:cubicBezTo>
                    <a:pt x="607048" y="906604"/>
                    <a:pt x="643750" y="891392"/>
                    <a:pt x="677810" y="870553"/>
                  </a:cubicBezTo>
                  <a:lnTo>
                    <a:pt x="724362" y="904941"/>
                  </a:lnTo>
                  <a:cubicBezTo>
                    <a:pt x="746357" y="921185"/>
                    <a:pt x="776360" y="918945"/>
                    <a:pt x="795693" y="899608"/>
                  </a:cubicBezTo>
                  <a:lnTo>
                    <a:pt x="835071" y="860229"/>
                  </a:lnTo>
                  <a:cubicBezTo>
                    <a:pt x="854412" y="840896"/>
                    <a:pt x="856656" y="810894"/>
                    <a:pt x="840408" y="788895"/>
                  </a:cubicBezTo>
                  <a:lnTo>
                    <a:pt x="806024" y="742347"/>
                  </a:lnTo>
                  <a:cubicBezTo>
                    <a:pt x="826863" y="708286"/>
                    <a:pt x="842075" y="671585"/>
                    <a:pt x="851411" y="632831"/>
                  </a:cubicBezTo>
                  <a:lnTo>
                    <a:pt x="908610" y="624233"/>
                  </a:lnTo>
                  <a:cubicBezTo>
                    <a:pt x="935652" y="620167"/>
                    <a:pt x="955282" y="597371"/>
                    <a:pt x="955282" y="570020"/>
                  </a:cubicBezTo>
                  <a:lnTo>
                    <a:pt x="955282" y="569771"/>
                  </a:lnTo>
                  <a:lnTo>
                    <a:pt x="1119070" y="569771"/>
                  </a:lnTo>
                  <a:lnTo>
                    <a:pt x="1119070" y="921549"/>
                  </a:lnTo>
                  <a:cubicBezTo>
                    <a:pt x="1119070" y="957038"/>
                    <a:pt x="1147944" y="985913"/>
                    <a:pt x="1183434" y="985913"/>
                  </a:cubicBezTo>
                  <a:lnTo>
                    <a:pt x="1301342" y="985913"/>
                  </a:lnTo>
                  <a:cubicBezTo>
                    <a:pt x="1313965" y="1042171"/>
                    <a:pt x="1364281" y="1084344"/>
                    <a:pt x="1424293" y="1084344"/>
                  </a:cubicBezTo>
                  <a:cubicBezTo>
                    <a:pt x="1493787" y="1084344"/>
                    <a:pt x="1550328" y="1027807"/>
                    <a:pt x="1550328" y="958309"/>
                  </a:cubicBezTo>
                  <a:cubicBezTo>
                    <a:pt x="1550328" y="888814"/>
                    <a:pt x="1493791" y="832273"/>
                    <a:pt x="1424293" y="832273"/>
                  </a:cubicBezTo>
                  <a:cubicBezTo>
                    <a:pt x="1364277" y="832273"/>
                    <a:pt x="1313961" y="874450"/>
                    <a:pt x="1301338" y="930712"/>
                  </a:cubicBezTo>
                  <a:lnTo>
                    <a:pt x="1183430" y="930712"/>
                  </a:lnTo>
                  <a:cubicBezTo>
                    <a:pt x="1178376" y="930712"/>
                    <a:pt x="1174267" y="926602"/>
                    <a:pt x="1174267" y="921549"/>
                  </a:cubicBezTo>
                  <a:lnTo>
                    <a:pt x="1174267" y="569771"/>
                  </a:lnTo>
                  <a:lnTo>
                    <a:pt x="1301338" y="569771"/>
                  </a:lnTo>
                  <a:cubicBezTo>
                    <a:pt x="1313961" y="626033"/>
                    <a:pt x="1364277" y="668210"/>
                    <a:pt x="1424293" y="668210"/>
                  </a:cubicBezTo>
                  <a:cubicBezTo>
                    <a:pt x="1493787" y="668210"/>
                    <a:pt x="1550328" y="611672"/>
                    <a:pt x="1550328" y="542174"/>
                  </a:cubicBezTo>
                  <a:cubicBezTo>
                    <a:pt x="1550328" y="472676"/>
                    <a:pt x="1493791" y="416138"/>
                    <a:pt x="1424293" y="416138"/>
                  </a:cubicBezTo>
                  <a:cubicBezTo>
                    <a:pt x="1364281" y="416138"/>
                    <a:pt x="1313965" y="458312"/>
                    <a:pt x="1301338" y="514570"/>
                  </a:cubicBezTo>
                  <a:lnTo>
                    <a:pt x="1174274" y="514570"/>
                  </a:lnTo>
                  <a:lnTo>
                    <a:pt x="1174274" y="162799"/>
                  </a:lnTo>
                  <a:cubicBezTo>
                    <a:pt x="1174274" y="157746"/>
                    <a:pt x="1178384" y="153636"/>
                    <a:pt x="1183437" y="153636"/>
                  </a:cubicBezTo>
                  <a:lnTo>
                    <a:pt x="1301346" y="153636"/>
                  </a:lnTo>
                  <a:cubicBezTo>
                    <a:pt x="1313969" y="209898"/>
                    <a:pt x="1364284" y="252072"/>
                    <a:pt x="1424300" y="252072"/>
                  </a:cubicBezTo>
                  <a:cubicBezTo>
                    <a:pt x="1493795" y="252072"/>
                    <a:pt x="1550336" y="195534"/>
                    <a:pt x="1550336" y="126036"/>
                  </a:cubicBezTo>
                  <a:cubicBezTo>
                    <a:pt x="1550336" y="56537"/>
                    <a:pt x="1493791" y="0"/>
                    <a:pt x="1424296" y="0"/>
                  </a:cubicBezTo>
                  <a:cubicBezTo>
                    <a:pt x="1364284" y="0"/>
                    <a:pt x="1313969" y="42174"/>
                    <a:pt x="1301342" y="98436"/>
                  </a:cubicBezTo>
                  <a:lnTo>
                    <a:pt x="1183434" y="98436"/>
                  </a:lnTo>
                  <a:cubicBezTo>
                    <a:pt x="1147944" y="98436"/>
                    <a:pt x="1119070" y="127307"/>
                    <a:pt x="1119070" y="162796"/>
                  </a:cubicBezTo>
                  <a:lnTo>
                    <a:pt x="1119070" y="514566"/>
                  </a:lnTo>
                  <a:lnTo>
                    <a:pt x="955282" y="514566"/>
                  </a:lnTo>
                  <a:lnTo>
                    <a:pt x="955282" y="514324"/>
                  </a:lnTo>
                  <a:cubicBezTo>
                    <a:pt x="955282" y="486981"/>
                    <a:pt x="935655" y="464181"/>
                    <a:pt x="908613" y="460115"/>
                  </a:cubicBezTo>
                  <a:lnTo>
                    <a:pt x="851411" y="451517"/>
                  </a:lnTo>
                  <a:cubicBezTo>
                    <a:pt x="842071" y="412763"/>
                    <a:pt x="826863" y="376062"/>
                    <a:pt x="806024" y="342001"/>
                  </a:cubicBezTo>
                  <a:lnTo>
                    <a:pt x="840408" y="295454"/>
                  </a:lnTo>
                  <a:cubicBezTo>
                    <a:pt x="856656" y="273454"/>
                    <a:pt x="854415" y="243452"/>
                    <a:pt x="835075" y="224119"/>
                  </a:cubicBezTo>
                  <a:lnTo>
                    <a:pt x="795696" y="184736"/>
                  </a:lnTo>
                  <a:cubicBezTo>
                    <a:pt x="776363" y="165400"/>
                    <a:pt x="746361" y="163159"/>
                    <a:pt x="724362" y="179404"/>
                  </a:cubicBezTo>
                  <a:lnTo>
                    <a:pt x="677814" y="213787"/>
                  </a:lnTo>
                  <a:cubicBezTo>
                    <a:pt x="643750" y="192949"/>
                    <a:pt x="607048" y="177736"/>
                    <a:pt x="568298" y="168400"/>
                  </a:cubicBezTo>
                  <a:lnTo>
                    <a:pt x="559700" y="111198"/>
                  </a:lnTo>
                  <a:cubicBezTo>
                    <a:pt x="555638" y="84156"/>
                    <a:pt x="532838" y="64526"/>
                    <a:pt x="505491" y="64526"/>
                  </a:cubicBezTo>
                  <a:lnTo>
                    <a:pt x="449798" y="64526"/>
                  </a:lnTo>
                  <a:cubicBezTo>
                    <a:pt x="422455" y="64526"/>
                    <a:pt x="399655" y="84152"/>
                    <a:pt x="395589" y="111198"/>
                  </a:cubicBezTo>
                  <a:lnTo>
                    <a:pt x="386988" y="168400"/>
                  </a:lnTo>
                  <a:cubicBezTo>
                    <a:pt x="348237" y="177740"/>
                    <a:pt x="311536" y="192949"/>
                    <a:pt x="277472" y="213787"/>
                  </a:cubicBezTo>
                  <a:lnTo>
                    <a:pt x="230924" y="179404"/>
                  </a:lnTo>
                  <a:cubicBezTo>
                    <a:pt x="208932" y="163156"/>
                    <a:pt x="178926" y="165396"/>
                    <a:pt x="159590" y="184736"/>
                  </a:cubicBezTo>
                  <a:lnTo>
                    <a:pt x="120211" y="224111"/>
                  </a:lnTo>
                  <a:cubicBezTo>
                    <a:pt x="100871" y="243448"/>
                    <a:pt x="98627" y="273450"/>
                    <a:pt x="114875" y="295446"/>
                  </a:cubicBezTo>
                  <a:lnTo>
                    <a:pt x="149258" y="341994"/>
                  </a:lnTo>
                  <a:cubicBezTo>
                    <a:pt x="128419" y="376054"/>
                    <a:pt x="113207" y="412759"/>
                    <a:pt x="103871" y="451510"/>
                  </a:cubicBezTo>
                  <a:lnTo>
                    <a:pt x="46669" y="460108"/>
                  </a:lnTo>
                  <a:cubicBezTo>
                    <a:pt x="19627" y="464173"/>
                    <a:pt x="0" y="486973"/>
                    <a:pt x="0" y="514317"/>
                  </a:cubicBezTo>
                  <a:lnTo>
                    <a:pt x="0" y="570006"/>
                  </a:lnTo>
                  <a:cubicBezTo>
                    <a:pt x="0" y="597364"/>
                    <a:pt x="19631" y="620160"/>
                    <a:pt x="46673" y="624226"/>
                  </a:cubicBezTo>
                  <a:close/>
                  <a:moveTo>
                    <a:pt x="1424296" y="887466"/>
                  </a:moveTo>
                  <a:cubicBezTo>
                    <a:pt x="1463355" y="887466"/>
                    <a:pt x="1495131" y="919242"/>
                    <a:pt x="1495131" y="958301"/>
                  </a:cubicBezTo>
                  <a:cubicBezTo>
                    <a:pt x="1495131" y="997360"/>
                    <a:pt x="1463355" y="1029137"/>
                    <a:pt x="1424296" y="1029137"/>
                  </a:cubicBezTo>
                  <a:cubicBezTo>
                    <a:pt x="1385237" y="1029137"/>
                    <a:pt x="1353461" y="997360"/>
                    <a:pt x="1353461" y="958301"/>
                  </a:cubicBezTo>
                  <a:cubicBezTo>
                    <a:pt x="1353461" y="919242"/>
                    <a:pt x="1385237" y="887466"/>
                    <a:pt x="1424296" y="887466"/>
                  </a:cubicBezTo>
                  <a:close/>
                  <a:moveTo>
                    <a:pt x="1424296" y="471331"/>
                  </a:moveTo>
                  <a:cubicBezTo>
                    <a:pt x="1463355" y="471331"/>
                    <a:pt x="1495131" y="503108"/>
                    <a:pt x="1495131" y="542167"/>
                  </a:cubicBezTo>
                  <a:cubicBezTo>
                    <a:pt x="1495131" y="581226"/>
                    <a:pt x="1463355" y="613002"/>
                    <a:pt x="1424296" y="613002"/>
                  </a:cubicBezTo>
                  <a:cubicBezTo>
                    <a:pt x="1385237" y="613002"/>
                    <a:pt x="1353461" y="581226"/>
                    <a:pt x="1353461" y="542167"/>
                  </a:cubicBezTo>
                  <a:cubicBezTo>
                    <a:pt x="1353461" y="503108"/>
                    <a:pt x="1385237" y="471331"/>
                    <a:pt x="1424296" y="471331"/>
                  </a:cubicBezTo>
                  <a:close/>
                  <a:moveTo>
                    <a:pt x="1424296" y="55197"/>
                  </a:moveTo>
                  <a:cubicBezTo>
                    <a:pt x="1463355" y="55197"/>
                    <a:pt x="1495131" y="86973"/>
                    <a:pt x="1495131" y="126032"/>
                  </a:cubicBezTo>
                  <a:cubicBezTo>
                    <a:pt x="1495131" y="165091"/>
                    <a:pt x="1463355" y="196867"/>
                    <a:pt x="1424296" y="196867"/>
                  </a:cubicBezTo>
                  <a:cubicBezTo>
                    <a:pt x="1385237" y="196867"/>
                    <a:pt x="1353461" y="165091"/>
                    <a:pt x="1353461" y="126032"/>
                  </a:cubicBezTo>
                  <a:cubicBezTo>
                    <a:pt x="1353461" y="86977"/>
                    <a:pt x="1385237" y="55197"/>
                    <a:pt x="1424296" y="55197"/>
                  </a:cubicBezTo>
                  <a:close/>
                  <a:moveTo>
                    <a:pt x="55197" y="514647"/>
                  </a:moveTo>
                  <a:lnTo>
                    <a:pt x="130954" y="503258"/>
                  </a:lnTo>
                  <a:cubicBezTo>
                    <a:pt x="142574" y="501514"/>
                    <a:pt x="151814" y="492600"/>
                    <a:pt x="153978" y="481053"/>
                  </a:cubicBezTo>
                  <a:cubicBezTo>
                    <a:pt x="162388" y="436198"/>
                    <a:pt x="179753" y="394304"/>
                    <a:pt x="205579" y="356530"/>
                  </a:cubicBezTo>
                  <a:cubicBezTo>
                    <a:pt x="212208" y="346834"/>
                    <a:pt x="211977" y="334002"/>
                    <a:pt x="204995" y="324552"/>
                  </a:cubicBezTo>
                  <a:lnTo>
                    <a:pt x="159468" y="262913"/>
                  </a:lnTo>
                  <a:lnTo>
                    <a:pt x="198388" y="223998"/>
                  </a:lnTo>
                  <a:lnTo>
                    <a:pt x="260027" y="269528"/>
                  </a:lnTo>
                  <a:cubicBezTo>
                    <a:pt x="269473" y="276506"/>
                    <a:pt x="282302" y="276741"/>
                    <a:pt x="292001" y="270112"/>
                  </a:cubicBezTo>
                  <a:cubicBezTo>
                    <a:pt x="329779" y="244282"/>
                    <a:pt x="371673" y="226921"/>
                    <a:pt x="416524" y="218507"/>
                  </a:cubicBezTo>
                  <a:cubicBezTo>
                    <a:pt x="428071" y="216344"/>
                    <a:pt x="436981" y="207103"/>
                    <a:pt x="438729" y="195483"/>
                  </a:cubicBezTo>
                  <a:lnTo>
                    <a:pt x="450118" y="119726"/>
                  </a:lnTo>
                  <a:lnTo>
                    <a:pt x="505157" y="119726"/>
                  </a:lnTo>
                  <a:lnTo>
                    <a:pt x="516546" y="195483"/>
                  </a:lnTo>
                  <a:cubicBezTo>
                    <a:pt x="518294" y="207103"/>
                    <a:pt x="527204" y="216344"/>
                    <a:pt x="538751" y="218507"/>
                  </a:cubicBezTo>
                  <a:cubicBezTo>
                    <a:pt x="583602" y="226917"/>
                    <a:pt x="625500" y="244282"/>
                    <a:pt x="663274" y="270112"/>
                  </a:cubicBezTo>
                  <a:cubicBezTo>
                    <a:pt x="672973" y="276745"/>
                    <a:pt x="685802" y="276506"/>
                    <a:pt x="695252" y="269528"/>
                  </a:cubicBezTo>
                  <a:lnTo>
                    <a:pt x="756891" y="223998"/>
                  </a:lnTo>
                  <a:lnTo>
                    <a:pt x="795810" y="262913"/>
                  </a:lnTo>
                  <a:lnTo>
                    <a:pt x="750284" y="324556"/>
                  </a:lnTo>
                  <a:cubicBezTo>
                    <a:pt x="743305" y="334002"/>
                    <a:pt x="743070" y="346834"/>
                    <a:pt x="749700" y="356534"/>
                  </a:cubicBezTo>
                  <a:cubicBezTo>
                    <a:pt x="775530" y="394308"/>
                    <a:pt x="792890" y="436202"/>
                    <a:pt x="801305" y="481060"/>
                  </a:cubicBezTo>
                  <a:cubicBezTo>
                    <a:pt x="803472" y="492607"/>
                    <a:pt x="812712" y="501517"/>
                    <a:pt x="824329" y="503266"/>
                  </a:cubicBezTo>
                  <a:lnTo>
                    <a:pt x="900085" y="514655"/>
                  </a:lnTo>
                  <a:lnTo>
                    <a:pt x="900085" y="569694"/>
                  </a:lnTo>
                  <a:lnTo>
                    <a:pt x="824329" y="581083"/>
                  </a:lnTo>
                  <a:cubicBezTo>
                    <a:pt x="812712" y="582827"/>
                    <a:pt x="803472" y="591741"/>
                    <a:pt x="801305" y="603288"/>
                  </a:cubicBezTo>
                  <a:cubicBezTo>
                    <a:pt x="792890" y="648146"/>
                    <a:pt x="775530" y="690040"/>
                    <a:pt x="749700" y="727814"/>
                  </a:cubicBezTo>
                  <a:cubicBezTo>
                    <a:pt x="743070" y="737510"/>
                    <a:pt x="743302" y="750342"/>
                    <a:pt x="750284" y="759788"/>
                  </a:cubicBezTo>
                  <a:lnTo>
                    <a:pt x="795814" y="821427"/>
                  </a:lnTo>
                  <a:lnTo>
                    <a:pt x="756894" y="860347"/>
                  </a:lnTo>
                  <a:lnTo>
                    <a:pt x="695256" y="814816"/>
                  </a:lnTo>
                  <a:cubicBezTo>
                    <a:pt x="685809" y="807838"/>
                    <a:pt x="672977" y="807603"/>
                    <a:pt x="663277" y="814236"/>
                  </a:cubicBezTo>
                  <a:cubicBezTo>
                    <a:pt x="625504" y="840066"/>
                    <a:pt x="583609" y="857427"/>
                    <a:pt x="538751" y="865841"/>
                  </a:cubicBezTo>
                  <a:cubicBezTo>
                    <a:pt x="527204" y="868008"/>
                    <a:pt x="518294" y="877249"/>
                    <a:pt x="516546" y="888865"/>
                  </a:cubicBezTo>
                  <a:lnTo>
                    <a:pt x="505157" y="964622"/>
                  </a:lnTo>
                  <a:lnTo>
                    <a:pt x="450118" y="964622"/>
                  </a:lnTo>
                  <a:lnTo>
                    <a:pt x="438729" y="888865"/>
                  </a:lnTo>
                  <a:cubicBezTo>
                    <a:pt x="436981" y="877249"/>
                    <a:pt x="428071" y="868008"/>
                    <a:pt x="416524" y="865841"/>
                  </a:cubicBezTo>
                  <a:cubicBezTo>
                    <a:pt x="371666" y="857427"/>
                    <a:pt x="329771" y="840066"/>
                    <a:pt x="291998" y="814236"/>
                  </a:cubicBezTo>
                  <a:cubicBezTo>
                    <a:pt x="282302" y="807607"/>
                    <a:pt x="269473" y="807838"/>
                    <a:pt x="260023" y="814816"/>
                  </a:cubicBezTo>
                  <a:lnTo>
                    <a:pt x="198384" y="860347"/>
                  </a:lnTo>
                  <a:lnTo>
                    <a:pt x="159465" y="821427"/>
                  </a:lnTo>
                  <a:lnTo>
                    <a:pt x="204995" y="759788"/>
                  </a:lnTo>
                  <a:cubicBezTo>
                    <a:pt x="211973" y="750342"/>
                    <a:pt x="212208" y="737506"/>
                    <a:pt x="205579" y="727814"/>
                  </a:cubicBezTo>
                  <a:cubicBezTo>
                    <a:pt x="179749" y="690040"/>
                    <a:pt x="162388" y="648146"/>
                    <a:pt x="153978" y="603291"/>
                  </a:cubicBezTo>
                  <a:cubicBezTo>
                    <a:pt x="151811" y="591744"/>
                    <a:pt x="142574" y="582831"/>
                    <a:pt x="130954" y="581086"/>
                  </a:cubicBezTo>
                  <a:lnTo>
                    <a:pt x="55197" y="569697"/>
                  </a:lnTo>
                  <a:close/>
                </a:path>
              </a:pathLst>
            </a:custGeom>
            <a:noFill/>
            <a:ln w="12700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956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33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-114535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3EAB76F5-F239-D8B1-B78F-96B3EAE5A4D7}"/>
              </a:ext>
            </a:extLst>
          </p:cNvPr>
          <p:cNvSpPr/>
          <p:nvPr/>
        </p:nvSpPr>
        <p:spPr>
          <a:xfrm flipV="1">
            <a:off x="-3" y="-1"/>
            <a:ext cx="10872649" cy="1146875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C01FF23-C9D7-655E-0F01-5FB4AA6CD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4284" y="327216"/>
            <a:ext cx="5307543" cy="492443"/>
          </a:xfrm>
        </p:spPr>
        <p:txBody>
          <a:bodyPr vert="horz" wrap="none"/>
          <a:lstStyle/>
          <a:p>
            <a:r>
              <a:rPr lang="en-US" dirty="0">
                <a:solidFill>
                  <a:schemeClr val="bg1"/>
                </a:solidFill>
              </a:rPr>
              <a:t>Challenges for the Futur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805A084-0B32-0FF3-FB27-6A4646429EB5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FE436BA-855C-F757-B5ED-D361DC856F36}"/>
              </a:ext>
            </a:extLst>
          </p:cNvPr>
          <p:cNvGrpSpPr/>
          <p:nvPr/>
        </p:nvGrpSpPr>
        <p:grpSpPr>
          <a:xfrm>
            <a:off x="441867" y="6192716"/>
            <a:ext cx="829973" cy="554136"/>
            <a:chOff x="441867" y="6192716"/>
            <a:chExt cx="829973" cy="554136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65E997-F191-F2F3-94F3-CFED7C09B89B}"/>
                </a:ext>
              </a:extLst>
            </p:cNvPr>
            <p:cNvSpPr/>
            <p:nvPr/>
          </p:nvSpPr>
          <p:spPr>
            <a:xfrm rot="5400000" flipV="1">
              <a:off x="1022845" y="6497857"/>
              <a:ext cx="248995" cy="248995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F33A1FE-3563-085B-0A0B-7EA5D9A959B9}"/>
                </a:ext>
              </a:extLst>
            </p:cNvPr>
            <p:cNvSpPr/>
            <p:nvPr/>
          </p:nvSpPr>
          <p:spPr>
            <a:xfrm rot="5400000" flipV="1">
              <a:off x="441866" y="6192717"/>
              <a:ext cx="378987" cy="378986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" name="Slide Number Placeholder 4">
              <a:extLst>
                <a:ext uri="{FF2B5EF4-FFF2-40B4-BE49-F238E27FC236}">
                  <a16:creationId xmlns:a16="http://schemas.microsoft.com/office/drawing/2014/main" id="{DD9F3571-7043-71C5-A60C-E93907065383}"/>
                </a:ext>
              </a:extLst>
            </p:cNvPr>
            <p:cNvSpPr txBox="1">
              <a:spLocks/>
            </p:cNvSpPr>
            <p:nvPr/>
          </p:nvSpPr>
          <p:spPr>
            <a:xfrm>
              <a:off x="606420" y="6324442"/>
              <a:ext cx="64120" cy="12311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3AA4AE14-256E-4160-8E2D-F13F9E1D91E6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5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F23AAF3B-E4D5-1309-95CC-52A75AE6E9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8058" y="72571"/>
            <a:ext cx="1001732" cy="1001732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7A019F2D-0A26-58A3-50B4-2C8DC95C74EA}"/>
              </a:ext>
            </a:extLst>
          </p:cNvPr>
          <p:cNvSpPr/>
          <p:nvPr/>
        </p:nvSpPr>
        <p:spPr>
          <a:xfrm>
            <a:off x="978254" y="1962916"/>
            <a:ext cx="1408719" cy="1220727"/>
          </a:xfrm>
          <a:prstGeom prst="ellipse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70344C2-AED3-3EB4-E50C-C52C8C3154DF}"/>
              </a:ext>
            </a:extLst>
          </p:cNvPr>
          <p:cNvSpPr/>
          <p:nvPr/>
        </p:nvSpPr>
        <p:spPr>
          <a:xfrm>
            <a:off x="3721782" y="1981567"/>
            <a:ext cx="1332015" cy="1227488"/>
          </a:xfrm>
          <a:prstGeom prst="ellipse">
            <a:avLst/>
          </a:prstGeom>
          <a:solidFill>
            <a:srgbClr val="00D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24BC461-7204-7C8D-DCA3-B6387547A80A}"/>
              </a:ext>
            </a:extLst>
          </p:cNvPr>
          <p:cNvSpPr/>
          <p:nvPr/>
        </p:nvSpPr>
        <p:spPr>
          <a:xfrm>
            <a:off x="6550625" y="1962916"/>
            <a:ext cx="1373367" cy="1236211"/>
          </a:xfrm>
          <a:prstGeom prst="ellipse">
            <a:avLst/>
          </a:prstGeom>
          <a:solidFill>
            <a:srgbClr val="9D2F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61A9B77-5082-71AB-5E1B-9297F4C03CB9}"/>
              </a:ext>
            </a:extLst>
          </p:cNvPr>
          <p:cNvSpPr/>
          <p:nvPr/>
        </p:nvSpPr>
        <p:spPr>
          <a:xfrm>
            <a:off x="9658349" y="2047875"/>
            <a:ext cx="1260375" cy="1236211"/>
          </a:xfrm>
          <a:prstGeom prst="ellipse">
            <a:avLst/>
          </a:prstGeom>
          <a:solidFill>
            <a:srgbClr val="0E6B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C30577F-7004-548A-F63E-999B5D3AA1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3340" y="3923938"/>
            <a:ext cx="1872331" cy="1367087"/>
          </a:xfrm>
          <a:prstGeom prst="roundRect">
            <a:avLst>
              <a:gd name="adj" fmla="val 10164"/>
            </a:avLst>
          </a:prstGeom>
          <a:solidFill>
            <a:schemeClr val="bg1"/>
          </a:solidFill>
          <a:ln>
            <a:solidFill>
              <a:srgbClr val="43ADD7"/>
            </a:solidFill>
          </a:ln>
        </p:spPr>
        <p:txBody>
          <a:bodyPr wrap="square" lIns="45720" tIns="45720" rIns="45720" bIns="45720" anchor="ctr">
            <a:noAutofit/>
          </a:bodyPr>
          <a:lstStyle/>
          <a:p>
            <a:pPr marL="0" indent="0" algn="ctr">
              <a:buNone/>
            </a:pPr>
            <a:r>
              <a:rPr lang="en-US" sz="2000" dirty="0"/>
              <a:t>Geo-Politica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78243167-BE91-F216-9C00-CBD3E1C38646}"/>
              </a:ext>
            </a:extLst>
          </p:cNvPr>
          <p:cNvSpPr txBox="1">
            <a:spLocks/>
          </p:cNvSpPr>
          <p:nvPr/>
        </p:nvSpPr>
        <p:spPr>
          <a:xfrm>
            <a:off x="3363756" y="3923937"/>
            <a:ext cx="2048066" cy="1367087"/>
          </a:xfrm>
          <a:prstGeom prst="roundRect">
            <a:avLst>
              <a:gd name="adj" fmla="val 10164"/>
            </a:avLst>
          </a:prstGeom>
          <a:solidFill>
            <a:schemeClr val="bg1"/>
          </a:solidFill>
          <a:ln>
            <a:solidFill>
              <a:srgbClr val="00DDE0"/>
            </a:solidFill>
          </a:ln>
        </p:spPr>
        <p:txBody>
          <a:bodyPr vert="horz" wrap="square" lIns="45720" tIns="45720" rIns="4572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ustainability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4AA36190-4E89-9158-640C-1DC26AFBF002}"/>
              </a:ext>
            </a:extLst>
          </p:cNvPr>
          <p:cNvSpPr txBox="1">
            <a:spLocks/>
          </p:cNvSpPr>
          <p:nvPr/>
        </p:nvSpPr>
        <p:spPr>
          <a:xfrm>
            <a:off x="6076867" y="3952538"/>
            <a:ext cx="2289260" cy="1367087"/>
          </a:xfrm>
          <a:prstGeom prst="roundRect">
            <a:avLst>
              <a:gd name="adj" fmla="val 10164"/>
            </a:avLst>
          </a:prstGeom>
          <a:solidFill>
            <a:schemeClr val="bg1"/>
          </a:solidFill>
          <a:ln>
            <a:solidFill>
              <a:srgbClr val="9D2F9D"/>
            </a:solidFill>
          </a:ln>
        </p:spPr>
        <p:txBody>
          <a:bodyPr vert="horz" wrap="square" lIns="45720" tIns="45720" rIns="4572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Demographic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60217BC4-FC49-FAC3-0BA9-549E6F6A5B42}"/>
              </a:ext>
            </a:extLst>
          </p:cNvPr>
          <p:cNvSpPr txBox="1">
            <a:spLocks/>
          </p:cNvSpPr>
          <p:nvPr/>
        </p:nvSpPr>
        <p:spPr>
          <a:xfrm>
            <a:off x="9472939" y="3923939"/>
            <a:ext cx="1664084" cy="1367087"/>
          </a:xfrm>
          <a:prstGeom prst="roundRect">
            <a:avLst>
              <a:gd name="adj" fmla="val 10164"/>
            </a:avLst>
          </a:prstGeom>
          <a:solidFill>
            <a:schemeClr val="bg1"/>
          </a:solidFill>
          <a:ln>
            <a:solidFill>
              <a:srgbClr val="0E6B77"/>
            </a:solidFill>
          </a:ln>
        </p:spPr>
        <p:txBody>
          <a:bodyPr vert="horz" wrap="square" lIns="45720" tIns="45720" rIns="4572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Unforeseen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7FE0266-0851-0852-8F50-6EDCDDCB0B1A}"/>
              </a:ext>
            </a:extLst>
          </p:cNvPr>
          <p:cNvCxnSpPr>
            <a:cxnSpLocks/>
            <a:stCxn id="30" idx="4"/>
            <a:endCxn id="44" idx="0"/>
          </p:cNvCxnSpPr>
          <p:nvPr/>
        </p:nvCxnSpPr>
        <p:spPr>
          <a:xfrm>
            <a:off x="1682614" y="3183643"/>
            <a:ext cx="6892" cy="740295"/>
          </a:xfrm>
          <a:prstGeom prst="line">
            <a:avLst/>
          </a:prstGeom>
          <a:ln w="19050">
            <a:solidFill>
              <a:srgbClr val="43ADD7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2570E39-6B16-AB97-4701-C7A271906FDA}"/>
              </a:ext>
            </a:extLst>
          </p:cNvPr>
          <p:cNvCxnSpPr>
            <a:cxnSpLocks/>
            <a:stCxn id="36" idx="4"/>
            <a:endCxn id="49" idx="0"/>
          </p:cNvCxnSpPr>
          <p:nvPr/>
        </p:nvCxnSpPr>
        <p:spPr>
          <a:xfrm flipH="1">
            <a:off x="4387789" y="3209055"/>
            <a:ext cx="1" cy="714882"/>
          </a:xfrm>
          <a:prstGeom prst="line">
            <a:avLst/>
          </a:prstGeom>
          <a:ln w="19050">
            <a:solidFill>
              <a:srgbClr val="00DDE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EA7639C-0E4C-60DF-0B7E-8F937E288B64}"/>
              </a:ext>
            </a:extLst>
          </p:cNvPr>
          <p:cNvCxnSpPr>
            <a:cxnSpLocks/>
            <a:stCxn id="37" idx="4"/>
            <a:endCxn id="55" idx="0"/>
          </p:cNvCxnSpPr>
          <p:nvPr/>
        </p:nvCxnSpPr>
        <p:spPr>
          <a:xfrm flipH="1">
            <a:off x="7221497" y="3199127"/>
            <a:ext cx="15812" cy="753411"/>
          </a:xfrm>
          <a:prstGeom prst="line">
            <a:avLst/>
          </a:prstGeom>
          <a:ln w="19050">
            <a:solidFill>
              <a:srgbClr val="9D2F9D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645E5B0-2774-80F0-8CB9-2180C2770D0F}"/>
              </a:ext>
            </a:extLst>
          </p:cNvPr>
          <p:cNvCxnSpPr>
            <a:cxnSpLocks/>
            <a:stCxn id="41" idx="4"/>
            <a:endCxn id="58" idx="0"/>
          </p:cNvCxnSpPr>
          <p:nvPr/>
        </p:nvCxnSpPr>
        <p:spPr>
          <a:xfrm>
            <a:off x="10288537" y="3284086"/>
            <a:ext cx="16444" cy="639853"/>
          </a:xfrm>
          <a:prstGeom prst="line">
            <a:avLst/>
          </a:prstGeom>
          <a:ln w="19050">
            <a:solidFill>
              <a:srgbClr val="0E6B77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Graphic 98">
            <a:extLst>
              <a:ext uri="{FF2B5EF4-FFF2-40B4-BE49-F238E27FC236}">
                <a16:creationId xmlns:a16="http://schemas.microsoft.com/office/drawing/2014/main" id="{D87B73B1-7092-8FC7-5ECC-F2ABF1B793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63641" y="2079009"/>
            <a:ext cx="851727" cy="851727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340E49DE-F471-22F2-D82A-6F0838AE2E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29330" y="2056972"/>
            <a:ext cx="844725" cy="851727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B933D957-9B00-6F1F-E556-175E1A597A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820204" y="2214210"/>
            <a:ext cx="818547" cy="742346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A49A44B9-95C9-86DD-F8BA-54059985C95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10765" y="2257370"/>
            <a:ext cx="763018" cy="763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0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41" grpId="0" animBg="1"/>
      <p:bldP spid="44" grpId="0" build="p" animBg="1"/>
      <p:bldP spid="49" grpId="0" animBg="1"/>
      <p:bldP spid="55" grpId="0" animBg="1"/>
      <p:bldP spid="5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43D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41">
            <a:extLst>
              <a:ext uri="{FF2B5EF4-FFF2-40B4-BE49-F238E27FC236}">
                <a16:creationId xmlns:a16="http://schemas.microsoft.com/office/drawing/2014/main" id="{9F64A3AE-C141-31F7-5B5F-B15FA43D6032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3F87281-D9A6-D095-3297-BC6C836A7A35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6EB2201-72EB-B649-AB7B-F0A811B2CFA4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382F15C-305C-4115-2893-8EA2AC7675EC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E2A0FC3-EDF2-FBEB-38CF-560319458307}"/>
              </a:ext>
            </a:extLst>
          </p:cNvPr>
          <p:cNvSpPr txBox="1">
            <a:spLocks/>
          </p:cNvSpPr>
          <p:nvPr/>
        </p:nvSpPr>
        <p:spPr>
          <a:xfrm>
            <a:off x="610427" y="6324442"/>
            <a:ext cx="5610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>
                <a:solidFill>
                  <a:schemeClr val="bg1"/>
                </a:solidFill>
              </a:rPr>
              <a:pPr/>
              <a:t>2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75" name="Picture 74" descr="A picture containing swimming, ocean floor&#10;&#10;Description automatically generated">
            <a:extLst>
              <a:ext uri="{FF2B5EF4-FFF2-40B4-BE49-F238E27FC236}">
                <a16:creationId xmlns:a16="http://schemas.microsoft.com/office/drawing/2014/main" id="{C1AA3894-B73B-63EC-A19A-9825096843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7" r="31261"/>
          <a:stretch/>
        </p:blipFill>
        <p:spPr>
          <a:xfrm>
            <a:off x="7882570" y="685800"/>
            <a:ext cx="4309430" cy="6172200"/>
          </a:xfrm>
          <a:custGeom>
            <a:avLst/>
            <a:gdLst>
              <a:gd name="connsiteX0" fmla="*/ 4309430 w 4309430"/>
              <a:gd name="connsiteY0" fmla="*/ 0 h 6172200"/>
              <a:gd name="connsiteX1" fmla="*/ 4309430 w 4309430"/>
              <a:gd name="connsiteY1" fmla="*/ 6172200 h 6172200"/>
              <a:gd name="connsiteX2" fmla="*/ 0 w 4309430"/>
              <a:gd name="connsiteY2" fmla="*/ 6172200 h 6172200"/>
              <a:gd name="connsiteX3" fmla="*/ 0 w 4309430"/>
              <a:gd name="connsiteY3" fmla="*/ 4309430 h 6172200"/>
              <a:gd name="connsiteX4" fmla="*/ 4309430 w 4309430"/>
              <a:gd name="connsiteY4" fmla="*/ 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9430" h="6172200">
                <a:moveTo>
                  <a:pt x="4309430" y="0"/>
                </a:moveTo>
                <a:lnTo>
                  <a:pt x="4309430" y="6172200"/>
                </a:lnTo>
                <a:lnTo>
                  <a:pt x="0" y="6172200"/>
                </a:lnTo>
                <a:lnTo>
                  <a:pt x="0" y="4309430"/>
                </a:lnTo>
                <a:cubicBezTo>
                  <a:pt x="0" y="1929430"/>
                  <a:pt x="1929430" y="0"/>
                  <a:pt x="4309430" y="0"/>
                </a:cubicBezTo>
                <a:close/>
              </a:path>
            </a:pathLst>
          </a:custGeom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AB3B3A1C-6551-CCB1-F016-0638B2D6A5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flipH="1" flipV="1">
            <a:off x="0" y="0"/>
            <a:ext cx="896781" cy="896781"/>
          </a:xfrm>
          <a:prstGeom prst="rect">
            <a:avLst/>
          </a:prstGeom>
        </p:spPr>
      </p:pic>
      <p:grpSp>
        <p:nvGrpSpPr>
          <p:cNvPr id="29" name="Group 6">
            <a:extLst>
              <a:ext uri="{FF2B5EF4-FFF2-40B4-BE49-F238E27FC236}">
                <a16:creationId xmlns:a16="http://schemas.microsoft.com/office/drawing/2014/main" id="{95382492-DA1E-8500-8529-9DEC11837FC3}"/>
              </a:ext>
            </a:extLst>
          </p:cNvPr>
          <p:cNvGrpSpPr/>
          <p:nvPr/>
        </p:nvGrpSpPr>
        <p:grpSpPr>
          <a:xfrm>
            <a:off x="6218577" y="896781"/>
            <a:ext cx="3327985" cy="3327985"/>
            <a:chOff x="0" y="0"/>
            <a:chExt cx="6350000" cy="6350000"/>
          </a:xfrm>
          <a:solidFill>
            <a:srgbClr val="1E2C25"/>
          </a:solidFill>
        </p:grpSpPr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4C5ED3F-014A-ADFE-8DC8-9CB0181A444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243D42"/>
            </a:solidFill>
            <a:ln w="8930" cap="flat">
              <a:noFill/>
              <a:prstDash val="solid"/>
              <a:miter/>
            </a:ln>
          </p:spPr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9898B6B-23B6-5DF2-1DE1-1B5BADEE5117}"/>
              </a:ext>
            </a:extLst>
          </p:cNvPr>
          <p:cNvGrpSpPr/>
          <p:nvPr/>
        </p:nvGrpSpPr>
        <p:grpSpPr>
          <a:xfrm>
            <a:off x="628086" y="788987"/>
            <a:ext cx="791517" cy="329711"/>
            <a:chOff x="980349" y="1446261"/>
            <a:chExt cx="791517" cy="329711"/>
          </a:xfrm>
          <a:solidFill>
            <a:srgbClr val="FCA943">
              <a:alpha val="70000"/>
            </a:srgbClr>
          </a:solidFill>
        </p:grpSpPr>
        <p:grpSp>
          <p:nvGrpSpPr>
            <p:cNvPr id="32" name="Group 12">
              <a:extLst>
                <a:ext uri="{FF2B5EF4-FFF2-40B4-BE49-F238E27FC236}">
                  <a16:creationId xmlns:a16="http://schemas.microsoft.com/office/drawing/2014/main" id="{BB812916-AA34-26F2-20BC-49280865350E}"/>
                </a:ext>
              </a:extLst>
            </p:cNvPr>
            <p:cNvGrpSpPr/>
            <p:nvPr/>
          </p:nvGrpSpPr>
          <p:grpSpPr>
            <a:xfrm>
              <a:off x="980349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00329A9D-3F59-CF77-DADC-E2260C882613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34" name="Group 14">
              <a:extLst>
                <a:ext uri="{FF2B5EF4-FFF2-40B4-BE49-F238E27FC236}">
                  <a16:creationId xmlns:a16="http://schemas.microsoft.com/office/drawing/2014/main" id="{CE7D0F37-61C5-1462-E5DC-90891D756228}"/>
                </a:ext>
              </a:extLst>
            </p:cNvPr>
            <p:cNvGrpSpPr/>
            <p:nvPr/>
          </p:nvGrpSpPr>
          <p:grpSpPr>
            <a:xfrm>
              <a:off x="1211252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0FFCA0CC-0904-2F3A-CFF8-44F03D4EE48E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46" name="Group 16">
              <a:extLst>
                <a:ext uri="{FF2B5EF4-FFF2-40B4-BE49-F238E27FC236}">
                  <a16:creationId xmlns:a16="http://schemas.microsoft.com/office/drawing/2014/main" id="{8AC2E837-7B92-C2DE-AA0A-6CC2D04A8472}"/>
                </a:ext>
              </a:extLst>
            </p:cNvPr>
            <p:cNvGrpSpPr/>
            <p:nvPr/>
          </p:nvGrpSpPr>
          <p:grpSpPr>
            <a:xfrm>
              <a:off x="1442155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AC56F57F-5FCE-BF1F-1792-AB07109E8D82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</p:grpSp>
      <p:grpSp>
        <p:nvGrpSpPr>
          <p:cNvPr id="48" name="Group 22">
            <a:extLst>
              <a:ext uri="{FF2B5EF4-FFF2-40B4-BE49-F238E27FC236}">
                <a16:creationId xmlns:a16="http://schemas.microsoft.com/office/drawing/2014/main" id="{2D64B831-15C1-0A79-E7F3-5FCFAF3FECB3}"/>
              </a:ext>
            </a:extLst>
          </p:cNvPr>
          <p:cNvGrpSpPr/>
          <p:nvPr/>
        </p:nvGrpSpPr>
        <p:grpSpPr>
          <a:xfrm>
            <a:off x="6464675" y="4224766"/>
            <a:ext cx="1747613" cy="1747613"/>
            <a:chOff x="0" y="0"/>
            <a:chExt cx="6350000" cy="6350000"/>
          </a:xfrm>
          <a:solidFill>
            <a:srgbClr val="1E2C25"/>
          </a:solidFill>
        </p:grpSpPr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BA241008-98ED-AE2E-D507-841EBD06CD4D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243D42"/>
            </a:solidFill>
            <a:ln w="8930" cap="flat">
              <a:noFill/>
              <a:prstDash val="solid"/>
              <a:miter/>
            </a:ln>
          </p:spPr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C7DEE289-45CF-FB2C-D5E6-D905A0D25EA5}"/>
              </a:ext>
            </a:extLst>
          </p:cNvPr>
          <p:cNvSpPr txBox="1"/>
          <p:nvPr/>
        </p:nvSpPr>
        <p:spPr>
          <a:xfrm>
            <a:off x="628086" y="1293616"/>
            <a:ext cx="5406557" cy="123110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sz="4000" b="1" dirty="0">
                <a:solidFill>
                  <a:schemeClr val="bg1"/>
                </a:solidFill>
              </a:rPr>
              <a:t>What is Data Driven Procurement?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0638B5D-BC51-6A90-46CC-8F5FCB973A75}"/>
              </a:ext>
            </a:extLst>
          </p:cNvPr>
          <p:cNvSpPr txBox="1"/>
          <p:nvPr/>
        </p:nvSpPr>
        <p:spPr>
          <a:xfrm>
            <a:off x="1520097" y="3146929"/>
            <a:ext cx="4588110" cy="110799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dirty="0">
                <a:solidFill>
                  <a:schemeClr val="bg1"/>
                </a:solidFill>
              </a:rPr>
              <a:t>Data-Driven sustainability means collecting and using data to make better decisions that guide measurable and responsible responses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BC5DEEB-13AA-5352-D55A-9256FBB997B6}"/>
              </a:ext>
            </a:extLst>
          </p:cNvPr>
          <p:cNvSpPr txBox="1"/>
          <p:nvPr/>
        </p:nvSpPr>
        <p:spPr>
          <a:xfrm>
            <a:off x="1520097" y="4756386"/>
            <a:ext cx="4588110" cy="138499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dirty="0">
                <a:solidFill>
                  <a:schemeClr val="bg1"/>
                </a:solidFill>
              </a:rPr>
              <a:t>The Emergence of big data technology and concepts has created the potential to transform and innovate the traditional e procurement system into green e procurement.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E598EE6-9BC8-E2E9-E259-4DA1FA2F3BF1}"/>
              </a:ext>
            </a:extLst>
          </p:cNvPr>
          <p:cNvCxnSpPr>
            <a:cxnSpLocks/>
          </p:cNvCxnSpPr>
          <p:nvPr/>
        </p:nvCxnSpPr>
        <p:spPr>
          <a:xfrm>
            <a:off x="1520097" y="4505655"/>
            <a:ext cx="4588110" cy="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Graphic 63">
            <a:extLst>
              <a:ext uri="{FF2B5EF4-FFF2-40B4-BE49-F238E27FC236}">
                <a16:creationId xmlns:a16="http://schemas.microsoft.com/office/drawing/2014/main" id="{C59663F9-61A5-77CD-A52E-24ECA5F98D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086" y="4756386"/>
            <a:ext cx="571500" cy="5715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791BC000-AC44-DA3C-D538-710E046C16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8086" y="3146929"/>
            <a:ext cx="571500" cy="571500"/>
          </a:xfrm>
          <a:prstGeom prst="rect">
            <a:avLst/>
          </a:prstGeom>
        </p:spPr>
      </p:pic>
      <p:pic>
        <p:nvPicPr>
          <p:cNvPr id="82" name="Picture 81" descr="Hands holding a seedling&#10;&#10;Description automatically generated with medium confidence">
            <a:extLst>
              <a:ext uri="{FF2B5EF4-FFF2-40B4-BE49-F238E27FC236}">
                <a16:creationId xmlns:a16="http://schemas.microsoft.com/office/drawing/2014/main" id="{FC53D987-8B6B-B502-D017-A2F8B9A9F1B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33" r="16733"/>
          <a:stretch/>
        </p:blipFill>
        <p:spPr>
          <a:xfrm>
            <a:off x="6417362" y="1095573"/>
            <a:ext cx="2930417" cy="2930405"/>
          </a:xfrm>
          <a:custGeom>
            <a:avLst/>
            <a:gdLst>
              <a:gd name="connsiteX0" fmla="*/ 1465209 w 2930417"/>
              <a:gd name="connsiteY0" fmla="*/ 0 h 2930405"/>
              <a:gd name="connsiteX1" fmla="*/ 2930417 w 2930417"/>
              <a:gd name="connsiteY1" fmla="*/ 1465220 h 2930405"/>
              <a:gd name="connsiteX2" fmla="*/ 1465209 w 2930417"/>
              <a:gd name="connsiteY2" fmla="*/ 2930405 h 2930405"/>
              <a:gd name="connsiteX3" fmla="*/ 0 w 2930417"/>
              <a:gd name="connsiteY3" fmla="*/ 1465220 h 2930405"/>
              <a:gd name="connsiteX4" fmla="*/ 1465209 w 2930417"/>
              <a:gd name="connsiteY4" fmla="*/ 0 h 293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30417" h="2930405">
                <a:moveTo>
                  <a:pt x="1465209" y="0"/>
                </a:moveTo>
                <a:cubicBezTo>
                  <a:pt x="2274419" y="0"/>
                  <a:pt x="2930417" y="656003"/>
                  <a:pt x="2930417" y="1465220"/>
                </a:cubicBezTo>
                <a:cubicBezTo>
                  <a:pt x="2930417" y="2274396"/>
                  <a:pt x="2274408" y="2930405"/>
                  <a:pt x="1465209" y="2930405"/>
                </a:cubicBezTo>
                <a:cubicBezTo>
                  <a:pt x="655997" y="2930405"/>
                  <a:pt x="0" y="2274396"/>
                  <a:pt x="0" y="1465220"/>
                </a:cubicBezTo>
                <a:cubicBezTo>
                  <a:pt x="0" y="656003"/>
                  <a:pt x="655997" y="0"/>
                  <a:pt x="1465209" y="0"/>
                </a:cubicBezTo>
                <a:close/>
              </a:path>
            </a:pathLst>
          </a:custGeom>
        </p:spPr>
      </p:pic>
      <p:pic>
        <p:nvPicPr>
          <p:cNvPr id="83" name="Picture 82" descr="A person holding a plant&#10;&#10;Description automatically generated with low confidence">
            <a:extLst>
              <a:ext uri="{FF2B5EF4-FFF2-40B4-BE49-F238E27FC236}">
                <a16:creationId xmlns:a16="http://schemas.microsoft.com/office/drawing/2014/main" id="{EB2E6C32-881A-1FC0-6D66-E803D74424F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6569062" y="4329158"/>
            <a:ext cx="1538839" cy="1538833"/>
          </a:xfrm>
          <a:custGeom>
            <a:avLst/>
            <a:gdLst>
              <a:gd name="connsiteX0" fmla="*/ 769420 w 1538839"/>
              <a:gd name="connsiteY0" fmla="*/ 0 h 1538833"/>
              <a:gd name="connsiteX1" fmla="*/ 1538839 w 1538839"/>
              <a:gd name="connsiteY1" fmla="*/ 769426 h 1538833"/>
              <a:gd name="connsiteX2" fmla="*/ 769420 w 1538839"/>
              <a:gd name="connsiteY2" fmla="*/ 1538833 h 1538833"/>
              <a:gd name="connsiteX3" fmla="*/ 0 w 1538839"/>
              <a:gd name="connsiteY3" fmla="*/ 769426 h 1538833"/>
              <a:gd name="connsiteX4" fmla="*/ 769420 w 1538839"/>
              <a:gd name="connsiteY4" fmla="*/ 0 h 1538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839" h="1538833">
                <a:moveTo>
                  <a:pt x="769420" y="0"/>
                </a:moveTo>
                <a:cubicBezTo>
                  <a:pt x="1194358" y="0"/>
                  <a:pt x="1538839" y="344485"/>
                  <a:pt x="1538839" y="769426"/>
                </a:cubicBezTo>
                <a:cubicBezTo>
                  <a:pt x="1538839" y="1194346"/>
                  <a:pt x="1194352" y="1538833"/>
                  <a:pt x="769420" y="1538833"/>
                </a:cubicBezTo>
                <a:cubicBezTo>
                  <a:pt x="344482" y="1538833"/>
                  <a:pt x="0" y="1194346"/>
                  <a:pt x="0" y="769426"/>
                </a:cubicBezTo>
                <a:cubicBezTo>
                  <a:pt x="0" y="344485"/>
                  <a:pt x="344482" y="0"/>
                  <a:pt x="76942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215358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4" name="Object 293" hidden="1">
            <a:extLst>
              <a:ext uri="{FF2B5EF4-FFF2-40B4-BE49-F238E27FC236}">
                <a16:creationId xmlns:a16="http://schemas.microsoft.com/office/drawing/2014/main" id="{45FFD06A-62AF-D9B3-7847-92895EE459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806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94" name="Object 293" hidden="1">
                        <a:extLst>
                          <a:ext uri="{FF2B5EF4-FFF2-40B4-BE49-F238E27FC236}">
                            <a16:creationId xmlns:a16="http://schemas.microsoft.com/office/drawing/2014/main" id="{45FFD06A-62AF-D9B3-7847-92895EE459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1380A3A-C94C-7B54-60DE-1A14BF09F6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0" name="Rectangle: Diagonal Corners Rounded 49">
            <a:extLst>
              <a:ext uri="{FF2B5EF4-FFF2-40B4-BE49-F238E27FC236}">
                <a16:creationId xmlns:a16="http://schemas.microsoft.com/office/drawing/2014/main" id="{9922CBD8-BDA8-8DA9-DC0D-46BD581F8817}"/>
              </a:ext>
            </a:extLst>
          </p:cNvPr>
          <p:cNvSpPr/>
          <p:nvPr/>
        </p:nvSpPr>
        <p:spPr>
          <a:xfrm>
            <a:off x="5435601" y="1048846"/>
            <a:ext cx="5968999" cy="98595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rgbClr val="43AD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2" name="Rectangle: Diagonal Corners Rounded 51">
            <a:extLst>
              <a:ext uri="{FF2B5EF4-FFF2-40B4-BE49-F238E27FC236}">
                <a16:creationId xmlns:a16="http://schemas.microsoft.com/office/drawing/2014/main" id="{5FCDAD35-954B-9841-B2AC-3F8186D61A7B}"/>
              </a:ext>
            </a:extLst>
          </p:cNvPr>
          <p:cNvSpPr/>
          <p:nvPr/>
        </p:nvSpPr>
        <p:spPr>
          <a:xfrm>
            <a:off x="5435601" y="2420446"/>
            <a:ext cx="5968999" cy="98595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rgbClr val="9D2F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3" name="Rectangle: Diagonal Corners Rounded 52">
            <a:extLst>
              <a:ext uri="{FF2B5EF4-FFF2-40B4-BE49-F238E27FC236}">
                <a16:creationId xmlns:a16="http://schemas.microsoft.com/office/drawing/2014/main" id="{9DB622DF-F296-E3AB-2A41-8954C65E6C5F}"/>
              </a:ext>
            </a:extLst>
          </p:cNvPr>
          <p:cNvSpPr/>
          <p:nvPr/>
        </p:nvSpPr>
        <p:spPr>
          <a:xfrm>
            <a:off x="5435601" y="3779346"/>
            <a:ext cx="5968999" cy="98595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rgbClr val="FB90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4" name="Rectangle: Diagonal Corners Rounded 53">
            <a:extLst>
              <a:ext uri="{FF2B5EF4-FFF2-40B4-BE49-F238E27FC236}">
                <a16:creationId xmlns:a16="http://schemas.microsoft.com/office/drawing/2014/main" id="{21D92122-068B-8848-D185-365BE6FD0A54}"/>
              </a:ext>
            </a:extLst>
          </p:cNvPr>
          <p:cNvSpPr/>
          <p:nvPr/>
        </p:nvSpPr>
        <p:spPr>
          <a:xfrm>
            <a:off x="5435601" y="5150946"/>
            <a:ext cx="5968999" cy="98595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rgbClr val="70AD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8DFE5F90-C2EB-2868-EFC2-26268898C561}"/>
              </a:ext>
            </a:extLst>
          </p:cNvPr>
          <p:cNvSpPr/>
          <p:nvPr/>
        </p:nvSpPr>
        <p:spPr>
          <a:xfrm>
            <a:off x="-1" y="0"/>
            <a:ext cx="4178301" cy="6858000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C01FF23-C9D7-655E-0F01-5FB4AA6CD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80" y="3421552"/>
            <a:ext cx="2968320" cy="984885"/>
          </a:xfrm>
        </p:spPr>
        <p:txBody>
          <a:bodyPr vert="horz"/>
          <a:lstStyle/>
          <a:p>
            <a:r>
              <a:rPr lang="en-IN" dirty="0">
                <a:solidFill>
                  <a:schemeClr val="bg1"/>
                </a:solidFill>
              </a:rPr>
              <a:t>Using Data to Drive Change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F73819F5-C322-5F20-30B2-2B6E547E46EB}"/>
              </a:ext>
            </a:extLst>
          </p:cNvPr>
          <p:cNvSpPr txBox="1"/>
          <p:nvPr/>
        </p:nvSpPr>
        <p:spPr>
          <a:xfrm>
            <a:off x="6661532" y="1264826"/>
            <a:ext cx="4552568" cy="55399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Embracing Sustainable Business </a:t>
            </a:r>
            <a:b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</a:b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Practice is now a must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DA168876-9482-5912-0F7C-4BF72ED8E423}"/>
              </a:ext>
            </a:extLst>
          </p:cNvPr>
          <p:cNvSpPr txBox="1"/>
          <p:nvPr/>
        </p:nvSpPr>
        <p:spPr>
          <a:xfrm>
            <a:off x="6661532" y="2774926"/>
            <a:ext cx="4552568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EU Policy &amp; Directives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753214E7-5C28-EC02-1766-055EDC0D15BC}"/>
              </a:ext>
            </a:extLst>
          </p:cNvPr>
          <p:cNvSpPr txBox="1"/>
          <p:nvPr/>
        </p:nvSpPr>
        <p:spPr>
          <a:xfrm>
            <a:off x="6661532" y="3856826"/>
            <a:ext cx="4552568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Insights from Sustainability data can power positive change while increasing </a:t>
            </a:r>
            <a:r>
              <a:rPr lang="en-IN" dirty="0">
                <a:solidFill>
                  <a:prstClr val="black"/>
                </a:solidFill>
              </a:rPr>
              <a:t>value for money.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D7E6036A-5E65-CBC2-D21F-5F0A3381FBAB}"/>
              </a:ext>
            </a:extLst>
          </p:cNvPr>
          <p:cNvSpPr txBox="1"/>
          <p:nvPr/>
        </p:nvSpPr>
        <p:spPr>
          <a:xfrm>
            <a:off x="6661532" y="5366926"/>
            <a:ext cx="4552568" cy="55399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Green &amp; Digitisation is core to </a:t>
            </a:r>
            <a:b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</a:b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what we are do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023B800-62D2-3063-9A36-FB5843A1E106}"/>
              </a:ext>
            </a:extLst>
          </p:cNvPr>
          <p:cNvGrpSpPr/>
          <p:nvPr/>
        </p:nvGrpSpPr>
        <p:grpSpPr>
          <a:xfrm>
            <a:off x="5283201" y="5011362"/>
            <a:ext cx="1028699" cy="985958"/>
            <a:chOff x="4887332" y="5186941"/>
            <a:chExt cx="1028699" cy="985958"/>
          </a:xfrm>
        </p:grpSpPr>
        <p:sp>
          <p:nvSpPr>
            <p:cNvPr id="26" name="Rectangle: Diagonal Corners Rounded 25">
              <a:extLst>
                <a:ext uri="{FF2B5EF4-FFF2-40B4-BE49-F238E27FC236}">
                  <a16:creationId xmlns:a16="http://schemas.microsoft.com/office/drawing/2014/main" id="{4A720010-93FF-71A6-E5C2-F407FA339611}"/>
                </a:ext>
              </a:extLst>
            </p:cNvPr>
            <p:cNvSpPr/>
            <p:nvPr/>
          </p:nvSpPr>
          <p:spPr>
            <a:xfrm>
              <a:off x="4887332" y="5186941"/>
              <a:ext cx="1028699" cy="985958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70AD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pic>
          <p:nvPicPr>
            <p:cNvPr id="284" name="Graphic 283">
              <a:extLst>
                <a:ext uri="{FF2B5EF4-FFF2-40B4-BE49-F238E27FC236}">
                  <a16:creationId xmlns:a16="http://schemas.microsoft.com/office/drawing/2014/main" id="{0DBA266D-2C82-82A7-A0B2-6F427F476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31431" y="5392349"/>
              <a:ext cx="527929" cy="527929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9EF2F97-C6AB-A858-B0CE-81C87C15EA71}"/>
              </a:ext>
            </a:extLst>
          </p:cNvPr>
          <p:cNvGrpSpPr/>
          <p:nvPr/>
        </p:nvGrpSpPr>
        <p:grpSpPr>
          <a:xfrm>
            <a:off x="5283201" y="2278669"/>
            <a:ext cx="1028699" cy="985958"/>
            <a:chOff x="4887332" y="2288699"/>
            <a:chExt cx="1028699" cy="985958"/>
          </a:xfrm>
        </p:grpSpPr>
        <p:sp>
          <p:nvSpPr>
            <p:cNvPr id="24" name="Rectangle: Diagonal Corners Rounded 23">
              <a:extLst>
                <a:ext uri="{FF2B5EF4-FFF2-40B4-BE49-F238E27FC236}">
                  <a16:creationId xmlns:a16="http://schemas.microsoft.com/office/drawing/2014/main" id="{6A227AD9-CC8D-1E83-514D-A3B6012115A7}"/>
                </a:ext>
              </a:extLst>
            </p:cNvPr>
            <p:cNvSpPr/>
            <p:nvPr/>
          </p:nvSpPr>
          <p:spPr>
            <a:xfrm>
              <a:off x="4887332" y="2288699"/>
              <a:ext cx="1028699" cy="985958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9D2F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pic>
          <p:nvPicPr>
            <p:cNvPr id="286" name="Graphic 285">
              <a:extLst>
                <a:ext uri="{FF2B5EF4-FFF2-40B4-BE49-F238E27FC236}">
                  <a16:creationId xmlns:a16="http://schemas.microsoft.com/office/drawing/2014/main" id="{F9E092FC-E3C6-9945-0FF6-60F0618FE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155427" y="2532378"/>
              <a:ext cx="479935" cy="479935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DB1BFFE-E7A6-5007-D206-45C410671719}"/>
              </a:ext>
            </a:extLst>
          </p:cNvPr>
          <p:cNvGrpSpPr/>
          <p:nvPr/>
        </p:nvGrpSpPr>
        <p:grpSpPr>
          <a:xfrm>
            <a:off x="5283201" y="3645016"/>
            <a:ext cx="1028699" cy="985958"/>
            <a:chOff x="4887332" y="3737820"/>
            <a:chExt cx="1028699" cy="985958"/>
          </a:xfrm>
        </p:grpSpPr>
        <p:sp>
          <p:nvSpPr>
            <p:cNvPr id="25" name="Rectangle: Diagonal Corners Rounded 24">
              <a:extLst>
                <a:ext uri="{FF2B5EF4-FFF2-40B4-BE49-F238E27FC236}">
                  <a16:creationId xmlns:a16="http://schemas.microsoft.com/office/drawing/2014/main" id="{DBE25AFA-8721-9D36-2B20-0FE2C15D9232}"/>
                </a:ext>
              </a:extLst>
            </p:cNvPr>
            <p:cNvSpPr/>
            <p:nvPr/>
          </p:nvSpPr>
          <p:spPr>
            <a:xfrm>
              <a:off x="4887332" y="3737820"/>
              <a:ext cx="1028699" cy="985958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B90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pic>
          <p:nvPicPr>
            <p:cNvPr id="287" name="Graphic 286">
              <a:extLst>
                <a:ext uri="{FF2B5EF4-FFF2-40B4-BE49-F238E27FC236}">
                  <a16:creationId xmlns:a16="http://schemas.microsoft.com/office/drawing/2014/main" id="{B28B90F7-4FD2-9D9F-3107-28AECB1C2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099864" y="3945683"/>
              <a:ext cx="580722" cy="580721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E1D652B-3C34-D354-B8AB-8FB2AD262A25}"/>
              </a:ext>
            </a:extLst>
          </p:cNvPr>
          <p:cNvGrpSpPr/>
          <p:nvPr/>
        </p:nvGrpSpPr>
        <p:grpSpPr>
          <a:xfrm>
            <a:off x="5283201" y="912322"/>
            <a:ext cx="1028699" cy="985958"/>
            <a:chOff x="4887332" y="839578"/>
            <a:chExt cx="1028699" cy="985958"/>
          </a:xfrm>
        </p:grpSpPr>
        <p:sp>
          <p:nvSpPr>
            <p:cNvPr id="27" name="Rectangle: Diagonal Corners Rounded 26">
              <a:extLst>
                <a:ext uri="{FF2B5EF4-FFF2-40B4-BE49-F238E27FC236}">
                  <a16:creationId xmlns:a16="http://schemas.microsoft.com/office/drawing/2014/main" id="{7E5A3CF5-375D-3A1E-C5E2-93216C3C807B}"/>
                </a:ext>
              </a:extLst>
            </p:cNvPr>
            <p:cNvSpPr/>
            <p:nvPr/>
          </p:nvSpPr>
          <p:spPr>
            <a:xfrm>
              <a:off x="4887332" y="839578"/>
              <a:ext cx="1028699" cy="985958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43A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pic>
          <p:nvPicPr>
            <p:cNvPr id="285" name="Graphic 284">
              <a:extLst>
                <a:ext uri="{FF2B5EF4-FFF2-40B4-BE49-F238E27FC236}">
                  <a16:creationId xmlns:a16="http://schemas.microsoft.com/office/drawing/2014/main" id="{7F15CC5E-327B-5E58-E35B-E89777A2B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31431" y="1049568"/>
              <a:ext cx="527929" cy="527928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1455761-1EA0-F495-B572-C664485535B2}"/>
              </a:ext>
            </a:extLst>
          </p:cNvPr>
          <p:cNvGrpSpPr/>
          <p:nvPr/>
        </p:nvGrpSpPr>
        <p:grpSpPr>
          <a:xfrm>
            <a:off x="820853" y="805232"/>
            <a:ext cx="2234750" cy="2234749"/>
            <a:chOff x="936171" y="810940"/>
            <a:chExt cx="2014471" cy="2014470"/>
          </a:xfrm>
          <a:noFill/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1D3447A-90D0-9071-9AB2-944BDBD5873A}"/>
                </a:ext>
              </a:extLst>
            </p:cNvPr>
            <p:cNvSpPr/>
            <p:nvPr/>
          </p:nvSpPr>
          <p:spPr>
            <a:xfrm>
              <a:off x="936171" y="1814240"/>
              <a:ext cx="2014471" cy="1011170"/>
            </a:xfrm>
            <a:custGeom>
              <a:avLst/>
              <a:gdLst>
                <a:gd name="connsiteX0" fmla="*/ 1837418 w 2014471"/>
                <a:gd name="connsiteY0" fmla="*/ 657064 h 1011170"/>
                <a:gd name="connsiteX1" fmla="*/ 1671231 w 2014471"/>
                <a:gd name="connsiteY1" fmla="*/ 775099 h 1011170"/>
                <a:gd name="connsiteX2" fmla="*/ 1173423 w 2014471"/>
                <a:gd name="connsiteY2" fmla="*/ 775099 h 1011170"/>
                <a:gd name="connsiteX3" fmla="*/ 1066253 w 2014471"/>
                <a:gd name="connsiteY3" fmla="*/ 667930 h 1011170"/>
                <a:gd name="connsiteX4" fmla="*/ 1066253 w 2014471"/>
                <a:gd name="connsiteY4" fmla="*/ 412248 h 1011170"/>
                <a:gd name="connsiteX5" fmla="*/ 1656430 w 2014471"/>
                <a:gd name="connsiteY5" fmla="*/ 177053 h 1011170"/>
                <a:gd name="connsiteX6" fmla="*/ 1656430 w 2014471"/>
                <a:gd name="connsiteY6" fmla="*/ 0 h 1011170"/>
                <a:gd name="connsiteX7" fmla="*/ 1007236 w 2014471"/>
                <a:gd name="connsiteY7" fmla="*/ 177053 h 1011170"/>
                <a:gd name="connsiteX8" fmla="*/ 358041 w 2014471"/>
                <a:gd name="connsiteY8" fmla="*/ 0 h 1011170"/>
                <a:gd name="connsiteX9" fmla="*/ 358041 w 2014471"/>
                <a:gd name="connsiteY9" fmla="*/ 177053 h 1011170"/>
                <a:gd name="connsiteX10" fmla="*/ 948218 w 2014471"/>
                <a:gd name="connsiteY10" fmla="*/ 412248 h 1011170"/>
                <a:gd name="connsiteX11" fmla="*/ 948218 w 2014471"/>
                <a:gd name="connsiteY11" fmla="*/ 667930 h 1011170"/>
                <a:gd name="connsiteX12" fmla="*/ 841048 w 2014471"/>
                <a:gd name="connsiteY12" fmla="*/ 775099 h 1011170"/>
                <a:gd name="connsiteX13" fmla="*/ 343240 w 2014471"/>
                <a:gd name="connsiteY13" fmla="*/ 775099 h 1011170"/>
                <a:gd name="connsiteX14" fmla="*/ 177053 w 2014471"/>
                <a:gd name="connsiteY14" fmla="*/ 657064 h 1011170"/>
                <a:gd name="connsiteX15" fmla="*/ 0 w 2014471"/>
                <a:gd name="connsiteY15" fmla="*/ 834117 h 1011170"/>
                <a:gd name="connsiteX16" fmla="*/ 177053 w 2014471"/>
                <a:gd name="connsiteY16" fmla="*/ 1011170 h 1011170"/>
                <a:gd name="connsiteX17" fmla="*/ 343240 w 2014471"/>
                <a:gd name="connsiteY17" fmla="*/ 893135 h 1011170"/>
                <a:gd name="connsiteX18" fmla="*/ 841048 w 2014471"/>
                <a:gd name="connsiteY18" fmla="*/ 893135 h 1011170"/>
                <a:gd name="connsiteX19" fmla="*/ 1007236 w 2014471"/>
                <a:gd name="connsiteY19" fmla="*/ 1011170 h 1011170"/>
                <a:gd name="connsiteX20" fmla="*/ 1173423 w 2014471"/>
                <a:gd name="connsiteY20" fmla="*/ 893135 h 1011170"/>
                <a:gd name="connsiteX21" fmla="*/ 1671231 w 2014471"/>
                <a:gd name="connsiteY21" fmla="*/ 893135 h 1011170"/>
                <a:gd name="connsiteX22" fmla="*/ 1837418 w 2014471"/>
                <a:gd name="connsiteY22" fmla="*/ 1011170 h 1011170"/>
                <a:gd name="connsiteX23" fmla="*/ 2014471 w 2014471"/>
                <a:gd name="connsiteY23" fmla="*/ 834117 h 1011170"/>
                <a:gd name="connsiteX24" fmla="*/ 1837418 w 2014471"/>
                <a:gd name="connsiteY24" fmla="*/ 657064 h 1011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14471" h="1011170">
                  <a:moveTo>
                    <a:pt x="1837418" y="657064"/>
                  </a:moveTo>
                  <a:cubicBezTo>
                    <a:pt x="1760572" y="657064"/>
                    <a:pt x="1695683" y="706553"/>
                    <a:pt x="1671231" y="775099"/>
                  </a:cubicBezTo>
                  <a:lnTo>
                    <a:pt x="1173423" y="775099"/>
                  </a:lnTo>
                  <a:cubicBezTo>
                    <a:pt x="1155579" y="725103"/>
                    <a:pt x="1116249" y="685773"/>
                    <a:pt x="1066253" y="667930"/>
                  </a:cubicBezTo>
                  <a:lnTo>
                    <a:pt x="1066253" y="412248"/>
                  </a:lnTo>
                  <a:cubicBezTo>
                    <a:pt x="1360896" y="403472"/>
                    <a:pt x="1656430" y="328624"/>
                    <a:pt x="1656430" y="177053"/>
                  </a:cubicBezTo>
                  <a:lnTo>
                    <a:pt x="1656430" y="0"/>
                  </a:lnTo>
                  <a:cubicBezTo>
                    <a:pt x="1656430" y="97963"/>
                    <a:pt x="1366060" y="177053"/>
                    <a:pt x="1007236" y="177053"/>
                  </a:cubicBezTo>
                  <a:cubicBezTo>
                    <a:pt x="648411" y="177053"/>
                    <a:pt x="358041" y="97963"/>
                    <a:pt x="358041" y="0"/>
                  </a:cubicBezTo>
                  <a:lnTo>
                    <a:pt x="358041" y="177053"/>
                  </a:lnTo>
                  <a:cubicBezTo>
                    <a:pt x="358041" y="328624"/>
                    <a:pt x="653575" y="403472"/>
                    <a:pt x="948218" y="412248"/>
                  </a:cubicBezTo>
                  <a:lnTo>
                    <a:pt x="948218" y="667930"/>
                  </a:lnTo>
                  <a:cubicBezTo>
                    <a:pt x="898222" y="685773"/>
                    <a:pt x="858892" y="725103"/>
                    <a:pt x="841048" y="775099"/>
                  </a:cubicBezTo>
                  <a:lnTo>
                    <a:pt x="343240" y="775099"/>
                  </a:lnTo>
                  <a:cubicBezTo>
                    <a:pt x="318788" y="706553"/>
                    <a:pt x="253899" y="657064"/>
                    <a:pt x="177053" y="657064"/>
                  </a:cubicBezTo>
                  <a:cubicBezTo>
                    <a:pt x="79428" y="657064"/>
                    <a:pt x="0" y="736492"/>
                    <a:pt x="0" y="834117"/>
                  </a:cubicBezTo>
                  <a:cubicBezTo>
                    <a:pt x="0" y="931742"/>
                    <a:pt x="79428" y="1011170"/>
                    <a:pt x="177053" y="1011170"/>
                  </a:cubicBezTo>
                  <a:cubicBezTo>
                    <a:pt x="253899" y="1011170"/>
                    <a:pt x="318788" y="961681"/>
                    <a:pt x="343240" y="893135"/>
                  </a:cubicBezTo>
                  <a:lnTo>
                    <a:pt x="841048" y="893135"/>
                  </a:lnTo>
                  <a:cubicBezTo>
                    <a:pt x="865501" y="961681"/>
                    <a:pt x="930390" y="1011170"/>
                    <a:pt x="1007236" y="1011170"/>
                  </a:cubicBezTo>
                  <a:cubicBezTo>
                    <a:pt x="1084082" y="1011170"/>
                    <a:pt x="1148970" y="961681"/>
                    <a:pt x="1173423" y="893135"/>
                  </a:cubicBezTo>
                  <a:lnTo>
                    <a:pt x="1671231" y="893135"/>
                  </a:lnTo>
                  <a:cubicBezTo>
                    <a:pt x="1695683" y="961681"/>
                    <a:pt x="1760572" y="1011170"/>
                    <a:pt x="1837418" y="1011170"/>
                  </a:cubicBezTo>
                  <a:cubicBezTo>
                    <a:pt x="1935043" y="1011170"/>
                    <a:pt x="2014471" y="931742"/>
                    <a:pt x="2014471" y="834117"/>
                  </a:cubicBezTo>
                  <a:cubicBezTo>
                    <a:pt x="2014471" y="736492"/>
                    <a:pt x="1935043" y="657064"/>
                    <a:pt x="1837418" y="657064"/>
                  </a:cubicBezTo>
                  <a:close/>
                </a:path>
              </a:pathLst>
            </a:custGeom>
            <a:grpFill/>
            <a:ln w="19050" cap="flat">
              <a:solidFill>
                <a:srgbClr val="00DDE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9CE0571-9746-3173-1769-0FF053B3C1A9}"/>
                </a:ext>
              </a:extLst>
            </p:cNvPr>
            <p:cNvSpPr/>
            <p:nvPr/>
          </p:nvSpPr>
          <p:spPr>
            <a:xfrm>
              <a:off x="1294211" y="810940"/>
              <a:ext cx="1298389" cy="354106"/>
            </a:xfrm>
            <a:custGeom>
              <a:avLst/>
              <a:gdLst>
                <a:gd name="connsiteX0" fmla="*/ 1298390 w 1298389"/>
                <a:gd name="connsiteY0" fmla="*/ 177053 h 354106"/>
                <a:gd name="connsiteX1" fmla="*/ 649195 w 1298389"/>
                <a:gd name="connsiteY1" fmla="*/ 0 h 354106"/>
                <a:gd name="connsiteX2" fmla="*/ 0 w 1298389"/>
                <a:gd name="connsiteY2" fmla="*/ 177053 h 354106"/>
                <a:gd name="connsiteX3" fmla="*/ 649195 w 1298389"/>
                <a:gd name="connsiteY3" fmla="*/ 354106 h 354106"/>
                <a:gd name="connsiteX4" fmla="*/ 1298390 w 1298389"/>
                <a:gd name="connsiteY4" fmla="*/ 177053 h 35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8389" h="354106">
                  <a:moveTo>
                    <a:pt x="1298390" y="177053"/>
                  </a:moveTo>
                  <a:cubicBezTo>
                    <a:pt x="1298390" y="79274"/>
                    <a:pt x="1007743" y="0"/>
                    <a:pt x="649195" y="0"/>
                  </a:cubicBezTo>
                  <a:cubicBezTo>
                    <a:pt x="290647" y="0"/>
                    <a:pt x="0" y="79274"/>
                    <a:pt x="0" y="177053"/>
                  </a:cubicBezTo>
                  <a:cubicBezTo>
                    <a:pt x="0" y="274832"/>
                    <a:pt x="290647" y="354106"/>
                    <a:pt x="649195" y="354106"/>
                  </a:cubicBezTo>
                  <a:cubicBezTo>
                    <a:pt x="1007743" y="354106"/>
                    <a:pt x="1298390" y="274832"/>
                    <a:pt x="1298390" y="177053"/>
                  </a:cubicBezTo>
                  <a:close/>
                </a:path>
              </a:pathLst>
            </a:custGeom>
            <a:grpFill/>
            <a:ln w="19050" cap="flat">
              <a:solidFill>
                <a:srgbClr val="00DDE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C47B37F-6658-7455-1DD8-792ABAF443CD}"/>
                </a:ext>
              </a:extLst>
            </p:cNvPr>
            <p:cNvSpPr/>
            <p:nvPr/>
          </p:nvSpPr>
          <p:spPr>
            <a:xfrm>
              <a:off x="1294211" y="1106028"/>
              <a:ext cx="1298389" cy="413123"/>
            </a:xfrm>
            <a:custGeom>
              <a:avLst/>
              <a:gdLst>
                <a:gd name="connsiteX0" fmla="*/ 1298390 w 1298389"/>
                <a:gd name="connsiteY0" fmla="*/ 0 h 413123"/>
                <a:gd name="connsiteX1" fmla="*/ 649195 w 1298389"/>
                <a:gd name="connsiteY1" fmla="*/ 177053 h 413123"/>
                <a:gd name="connsiteX2" fmla="*/ 0 w 1298389"/>
                <a:gd name="connsiteY2" fmla="*/ 0 h 413123"/>
                <a:gd name="connsiteX3" fmla="*/ 0 w 1298389"/>
                <a:gd name="connsiteY3" fmla="*/ 177053 h 413123"/>
                <a:gd name="connsiteX4" fmla="*/ 649195 w 1298389"/>
                <a:gd name="connsiteY4" fmla="*/ 413124 h 413123"/>
                <a:gd name="connsiteX5" fmla="*/ 1298390 w 1298389"/>
                <a:gd name="connsiteY5" fmla="*/ 177053 h 41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8389" h="413123">
                  <a:moveTo>
                    <a:pt x="1298390" y="0"/>
                  </a:moveTo>
                  <a:cubicBezTo>
                    <a:pt x="1298390" y="97963"/>
                    <a:pt x="1008019" y="177053"/>
                    <a:pt x="649195" y="177053"/>
                  </a:cubicBezTo>
                  <a:cubicBezTo>
                    <a:pt x="290370" y="177053"/>
                    <a:pt x="0" y="97963"/>
                    <a:pt x="0" y="0"/>
                  </a:cubicBezTo>
                  <a:lnTo>
                    <a:pt x="0" y="177053"/>
                  </a:lnTo>
                  <a:cubicBezTo>
                    <a:pt x="0" y="338768"/>
                    <a:pt x="336401" y="413124"/>
                    <a:pt x="649195" y="413124"/>
                  </a:cubicBezTo>
                  <a:cubicBezTo>
                    <a:pt x="961989" y="413124"/>
                    <a:pt x="1298390" y="338768"/>
                    <a:pt x="1298390" y="177053"/>
                  </a:cubicBezTo>
                  <a:close/>
                </a:path>
              </a:pathLst>
            </a:custGeom>
            <a:grpFill/>
            <a:ln w="19050" cap="flat">
              <a:solidFill>
                <a:srgbClr val="00DDE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0901934-9C10-BF7C-DE93-F3A50A6AD19E}"/>
                </a:ext>
              </a:extLst>
            </p:cNvPr>
            <p:cNvSpPr/>
            <p:nvPr/>
          </p:nvSpPr>
          <p:spPr>
            <a:xfrm>
              <a:off x="1294211" y="1460134"/>
              <a:ext cx="1298389" cy="413123"/>
            </a:xfrm>
            <a:custGeom>
              <a:avLst/>
              <a:gdLst>
                <a:gd name="connsiteX0" fmla="*/ 0 w 1298389"/>
                <a:gd name="connsiteY0" fmla="*/ 0 h 413123"/>
                <a:gd name="connsiteX1" fmla="*/ 0 w 1298389"/>
                <a:gd name="connsiteY1" fmla="*/ 177053 h 413123"/>
                <a:gd name="connsiteX2" fmla="*/ 649195 w 1298389"/>
                <a:gd name="connsiteY2" fmla="*/ 413124 h 413123"/>
                <a:gd name="connsiteX3" fmla="*/ 1298390 w 1298389"/>
                <a:gd name="connsiteY3" fmla="*/ 177053 h 413123"/>
                <a:gd name="connsiteX4" fmla="*/ 1298390 w 1298389"/>
                <a:gd name="connsiteY4" fmla="*/ 0 h 413123"/>
                <a:gd name="connsiteX5" fmla="*/ 649195 w 1298389"/>
                <a:gd name="connsiteY5" fmla="*/ 177053 h 413123"/>
                <a:gd name="connsiteX6" fmla="*/ 0 w 1298389"/>
                <a:gd name="connsiteY6" fmla="*/ 0 h 41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8389" h="413123">
                  <a:moveTo>
                    <a:pt x="0" y="0"/>
                  </a:moveTo>
                  <a:lnTo>
                    <a:pt x="0" y="177053"/>
                  </a:lnTo>
                  <a:cubicBezTo>
                    <a:pt x="0" y="338768"/>
                    <a:pt x="336401" y="413124"/>
                    <a:pt x="649195" y="413124"/>
                  </a:cubicBezTo>
                  <a:cubicBezTo>
                    <a:pt x="961989" y="413124"/>
                    <a:pt x="1298390" y="338768"/>
                    <a:pt x="1298390" y="177053"/>
                  </a:cubicBezTo>
                  <a:lnTo>
                    <a:pt x="1298390" y="0"/>
                  </a:lnTo>
                  <a:cubicBezTo>
                    <a:pt x="1298390" y="97963"/>
                    <a:pt x="1008019" y="177053"/>
                    <a:pt x="649195" y="177053"/>
                  </a:cubicBezTo>
                  <a:cubicBezTo>
                    <a:pt x="290370" y="177053"/>
                    <a:pt x="0" y="97963"/>
                    <a:pt x="0" y="0"/>
                  </a:cubicBezTo>
                  <a:close/>
                </a:path>
              </a:pathLst>
            </a:custGeom>
            <a:grpFill/>
            <a:ln w="19050" cap="flat">
              <a:solidFill>
                <a:srgbClr val="00DDE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C77AA05-94AE-0E71-8838-30A6AA0BDFFB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8DE4746-7510-9025-8191-88846C9DBC59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4309601-9C71-922E-A6A1-11BE62364702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81E7AD6-4AFF-6AB6-5D6F-78B86D0E7B08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lide Number Placeholder 4">
            <a:extLst>
              <a:ext uri="{FF2B5EF4-FFF2-40B4-BE49-F238E27FC236}">
                <a16:creationId xmlns:a16="http://schemas.microsoft.com/office/drawing/2014/main" id="{1C8669ED-8D77-5925-EBE4-177D6F8A0DCA}"/>
              </a:ext>
            </a:extLst>
          </p:cNvPr>
          <p:cNvSpPr txBox="1">
            <a:spLocks/>
          </p:cNvSpPr>
          <p:nvPr/>
        </p:nvSpPr>
        <p:spPr>
          <a:xfrm>
            <a:off x="610427" y="6324442"/>
            <a:ext cx="5610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A4AE14-256E-4160-8E2D-F13F9E1D91E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229F31C-0562-E2EC-9D8F-27F6D2C00E38}"/>
              </a:ext>
            </a:extLst>
          </p:cNvPr>
          <p:cNvSpPr/>
          <p:nvPr/>
        </p:nvSpPr>
        <p:spPr>
          <a:xfrm>
            <a:off x="12554424" y="658378"/>
            <a:ext cx="552112" cy="552112"/>
          </a:xfrm>
          <a:prstGeom prst="ellipse">
            <a:avLst/>
          </a:prstGeom>
          <a:solidFill>
            <a:srgbClr val="43ADD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964D57B-69DD-F63A-E253-96C7C1BA916F}"/>
              </a:ext>
            </a:extLst>
          </p:cNvPr>
          <p:cNvSpPr/>
          <p:nvPr/>
        </p:nvSpPr>
        <p:spPr>
          <a:xfrm>
            <a:off x="12554424" y="1282019"/>
            <a:ext cx="552112" cy="552112"/>
          </a:xfrm>
          <a:prstGeom prst="ellipse">
            <a:avLst/>
          </a:prstGeom>
          <a:solidFill>
            <a:srgbClr val="9DB4C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4282C21-DF5C-2B85-CB5E-C9599AFD67E1}"/>
              </a:ext>
            </a:extLst>
          </p:cNvPr>
          <p:cNvSpPr/>
          <p:nvPr/>
        </p:nvSpPr>
        <p:spPr>
          <a:xfrm>
            <a:off x="12554424" y="1905661"/>
            <a:ext cx="552112" cy="552112"/>
          </a:xfrm>
          <a:prstGeom prst="ellipse">
            <a:avLst/>
          </a:prstGeom>
          <a:solidFill>
            <a:srgbClr val="E6E6E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84074F6-F839-36A9-47AD-4D667687A1ED}"/>
              </a:ext>
            </a:extLst>
          </p:cNvPr>
          <p:cNvSpPr/>
          <p:nvPr/>
        </p:nvSpPr>
        <p:spPr>
          <a:xfrm>
            <a:off x="12554424" y="2529302"/>
            <a:ext cx="552112" cy="552112"/>
          </a:xfrm>
          <a:prstGeom prst="ellipse">
            <a:avLst/>
          </a:prstGeom>
          <a:solidFill>
            <a:srgbClr val="00DDE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A819DA-81B5-BF2D-E422-B462699C835E}"/>
              </a:ext>
            </a:extLst>
          </p:cNvPr>
          <p:cNvSpPr/>
          <p:nvPr/>
        </p:nvSpPr>
        <p:spPr>
          <a:xfrm>
            <a:off x="12554424" y="3152944"/>
            <a:ext cx="552112" cy="552112"/>
          </a:xfrm>
          <a:prstGeom prst="ellipse">
            <a:avLst/>
          </a:prstGeom>
          <a:solidFill>
            <a:srgbClr val="0E6B77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AA1E573-BDCA-D329-2A17-911DC250EF88}"/>
              </a:ext>
            </a:extLst>
          </p:cNvPr>
          <p:cNvSpPr/>
          <p:nvPr/>
        </p:nvSpPr>
        <p:spPr>
          <a:xfrm>
            <a:off x="12554424" y="3776585"/>
            <a:ext cx="552112" cy="552112"/>
          </a:xfrm>
          <a:prstGeom prst="ellipse">
            <a:avLst/>
          </a:prstGeom>
          <a:solidFill>
            <a:srgbClr val="243D42"/>
          </a:solidFill>
          <a:ln w="28575" cap="flat">
            <a:solidFill>
              <a:schemeClr val="bg1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BEA26C-99B0-8750-28F8-F53F0CFD5048}"/>
              </a:ext>
            </a:extLst>
          </p:cNvPr>
          <p:cNvSpPr/>
          <p:nvPr/>
        </p:nvSpPr>
        <p:spPr>
          <a:xfrm>
            <a:off x="12554424" y="4400227"/>
            <a:ext cx="552112" cy="552112"/>
          </a:xfrm>
          <a:prstGeom prst="ellipse">
            <a:avLst/>
          </a:prstGeom>
          <a:solidFill>
            <a:srgbClr val="9D2F9D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9EBD98A-C030-41D4-F61C-AE5D42B6430C}"/>
              </a:ext>
            </a:extLst>
          </p:cNvPr>
          <p:cNvSpPr/>
          <p:nvPr/>
        </p:nvSpPr>
        <p:spPr>
          <a:xfrm>
            <a:off x="12554424" y="5023868"/>
            <a:ext cx="552112" cy="552112"/>
          </a:xfrm>
          <a:prstGeom prst="ellipse">
            <a:avLst/>
          </a:prstGeom>
          <a:solidFill>
            <a:srgbClr val="FB900E"/>
          </a:solidFill>
          <a:ln w="28575">
            <a:solidFill>
              <a:schemeClr val="bg1"/>
            </a:solidFill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12AFB5-499F-0AFA-EC0B-F842D5D73ECC}"/>
              </a:ext>
            </a:extLst>
          </p:cNvPr>
          <p:cNvSpPr/>
          <p:nvPr/>
        </p:nvSpPr>
        <p:spPr>
          <a:xfrm>
            <a:off x="12554424" y="5647510"/>
            <a:ext cx="552112" cy="552112"/>
          </a:xfrm>
          <a:prstGeom prst="ellipse">
            <a:avLst/>
          </a:prstGeom>
          <a:solidFill>
            <a:srgbClr val="70AD47"/>
          </a:solidFill>
          <a:ln w="28575" cap="flat">
            <a:solidFill>
              <a:schemeClr val="bg1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FDBDBA-51B3-C6D3-9CEF-47A363D091CD}"/>
              </a:ext>
            </a:extLst>
          </p:cNvPr>
          <p:cNvSpPr txBox="1"/>
          <p:nvPr/>
        </p:nvSpPr>
        <p:spPr>
          <a:xfrm>
            <a:off x="12554424" y="162362"/>
            <a:ext cx="2147456" cy="30777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+mn-lt"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NEW EPS 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t>color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971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166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-28385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3EAB76F5-F239-D8B1-B78F-96B3EAE5A4D7}"/>
              </a:ext>
            </a:extLst>
          </p:cNvPr>
          <p:cNvSpPr/>
          <p:nvPr/>
        </p:nvSpPr>
        <p:spPr>
          <a:xfrm flipV="1">
            <a:off x="-2" y="0"/>
            <a:ext cx="10706102" cy="1146875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C01FF23-C9D7-655E-0F01-5FB4AA6CD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4284" y="327216"/>
            <a:ext cx="6041719" cy="492443"/>
          </a:xfrm>
        </p:spPr>
        <p:txBody>
          <a:bodyPr vert="horz" wrap="none"/>
          <a:lstStyle/>
          <a:p>
            <a:r>
              <a:rPr lang="en-US" dirty="0">
                <a:solidFill>
                  <a:schemeClr val="bg1"/>
                </a:solidFill>
              </a:rPr>
              <a:t>Diversity of Education Sector</a:t>
            </a:r>
            <a:endParaRPr lang="en-IN" dirty="0">
              <a:solidFill>
                <a:schemeClr val="bg1"/>
              </a:solidFill>
            </a:endParaRP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5855E70C-7E2B-4E2A-DAF3-12EDDBF5F1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842" y="78683"/>
            <a:ext cx="989508" cy="98950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62F023E-2BAA-54D0-B09A-F1359294716F}"/>
              </a:ext>
            </a:extLst>
          </p:cNvPr>
          <p:cNvSpPr/>
          <p:nvPr/>
        </p:nvSpPr>
        <p:spPr>
          <a:xfrm>
            <a:off x="-2" y="1729357"/>
            <a:ext cx="12192000" cy="5128643"/>
          </a:xfrm>
          <a:prstGeom prst="rect">
            <a:avLst/>
          </a:prstGeom>
          <a:solidFill>
            <a:srgbClr val="43ADD7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DC1350-0820-C919-D761-D1A233A039F3}"/>
              </a:ext>
            </a:extLst>
          </p:cNvPr>
          <p:cNvSpPr/>
          <p:nvPr/>
        </p:nvSpPr>
        <p:spPr>
          <a:xfrm>
            <a:off x="5369649" y="2681975"/>
            <a:ext cx="3786238" cy="171972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1D4E9686-4A5C-BC7B-AEB8-F7A38F812C69}"/>
              </a:ext>
            </a:extLst>
          </p:cNvPr>
          <p:cNvSpPr/>
          <p:nvPr/>
        </p:nvSpPr>
        <p:spPr>
          <a:xfrm>
            <a:off x="333711" y="2604830"/>
            <a:ext cx="4963004" cy="282845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UNIVERSIT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0E8D4D-432F-2C1A-22FC-AD873E70297D}"/>
              </a:ext>
            </a:extLst>
          </p:cNvPr>
          <p:cNvSpPr/>
          <p:nvPr/>
        </p:nvSpPr>
        <p:spPr>
          <a:xfrm>
            <a:off x="319576" y="2883006"/>
            <a:ext cx="5078445" cy="152371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pic>
        <p:nvPicPr>
          <p:cNvPr id="33" name="Picture 32" descr="A picture containing text&#10;&#10;Description automatically generated">
            <a:extLst>
              <a:ext uri="{FF2B5EF4-FFF2-40B4-BE49-F238E27FC236}">
                <a16:creationId xmlns:a16="http://schemas.microsoft.com/office/drawing/2014/main" id="{BA52EA8A-512E-3789-CC30-4175E5A5DE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039" y="3684378"/>
            <a:ext cx="1023355" cy="459590"/>
          </a:xfrm>
          <a:prstGeom prst="rect">
            <a:avLst/>
          </a:prstGeom>
        </p:spPr>
      </p:pic>
      <p:pic>
        <p:nvPicPr>
          <p:cNvPr id="38" name="Picture 37" descr="Text&#10;&#10;Description automatically generated with low confidence">
            <a:extLst>
              <a:ext uri="{FF2B5EF4-FFF2-40B4-BE49-F238E27FC236}">
                <a16:creationId xmlns:a16="http://schemas.microsoft.com/office/drawing/2014/main" id="{EE26B06C-6569-34B1-9593-AE4CE3B80FC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59" t="20000" r="9886" b="22281"/>
          <a:stretch/>
        </p:blipFill>
        <p:spPr>
          <a:xfrm>
            <a:off x="3579046" y="3740581"/>
            <a:ext cx="1158188" cy="340876"/>
          </a:xfrm>
          <a:prstGeom prst="rect">
            <a:avLst/>
          </a:prstGeom>
        </p:spPr>
      </p:pic>
      <p:pic>
        <p:nvPicPr>
          <p:cNvPr id="40" name="Picture 3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E89D588-7C58-238F-9C5F-DA3C9EB24D6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t="17892" r="8837" b="17892"/>
          <a:stretch/>
        </p:blipFill>
        <p:spPr>
          <a:xfrm>
            <a:off x="2483658" y="2982483"/>
            <a:ext cx="1288083" cy="423719"/>
          </a:xfrm>
          <a:prstGeom prst="rect">
            <a:avLst/>
          </a:prstGeom>
        </p:spPr>
      </p:pic>
      <p:pic>
        <p:nvPicPr>
          <p:cNvPr id="45" name="Picture 44" descr="A picture containing text&#10;&#10;Description automatically generated">
            <a:extLst>
              <a:ext uri="{FF2B5EF4-FFF2-40B4-BE49-F238E27FC236}">
                <a16:creationId xmlns:a16="http://schemas.microsoft.com/office/drawing/2014/main" id="{C9EC6C4F-7AA0-BA35-82CB-4D6ED9853B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62" y="3770147"/>
            <a:ext cx="817458" cy="344571"/>
          </a:xfrm>
          <a:prstGeom prst="rect">
            <a:avLst/>
          </a:prstGeom>
        </p:spPr>
      </p:pic>
      <p:pic>
        <p:nvPicPr>
          <p:cNvPr id="50" name="Picture 49" descr="Text&#10;&#10;Description automatically generated">
            <a:extLst>
              <a:ext uri="{FF2B5EF4-FFF2-40B4-BE49-F238E27FC236}">
                <a16:creationId xmlns:a16="http://schemas.microsoft.com/office/drawing/2014/main" id="{89A62185-5D84-9B76-7781-7A94273232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097" y="3660818"/>
            <a:ext cx="861934" cy="466767"/>
          </a:xfrm>
          <a:prstGeom prst="rect">
            <a:avLst/>
          </a:prstGeom>
        </p:spPr>
      </p:pic>
      <p:pic>
        <p:nvPicPr>
          <p:cNvPr id="48" name="Picture 4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2254941-42B4-A62F-4B3E-D242565901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8646" y="2961228"/>
            <a:ext cx="1388069" cy="340875"/>
          </a:xfrm>
          <a:prstGeom prst="rect">
            <a:avLst/>
          </a:prstGeom>
        </p:spPr>
      </p:pic>
      <p:pic>
        <p:nvPicPr>
          <p:cNvPr id="52" name="Picture 51" descr="Map&#10;&#10;Description automatically generated with medium confidence">
            <a:extLst>
              <a:ext uri="{FF2B5EF4-FFF2-40B4-BE49-F238E27FC236}">
                <a16:creationId xmlns:a16="http://schemas.microsoft.com/office/drawing/2014/main" id="{76202A08-33D4-C981-8ED1-B4478B13CB5C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8" t="20030" r="12162" b="20030"/>
          <a:stretch/>
        </p:blipFill>
        <p:spPr>
          <a:xfrm>
            <a:off x="1593123" y="2975206"/>
            <a:ext cx="789229" cy="494951"/>
          </a:xfrm>
          <a:prstGeom prst="rect">
            <a:avLst/>
          </a:prstGeom>
        </p:spPr>
      </p:pic>
      <p:pic>
        <p:nvPicPr>
          <p:cNvPr id="54" name="Picture 53" descr="Logo, company name&#10;&#10;Description automatically generated">
            <a:extLst>
              <a:ext uri="{FF2B5EF4-FFF2-40B4-BE49-F238E27FC236}">
                <a16:creationId xmlns:a16="http://schemas.microsoft.com/office/drawing/2014/main" id="{718CF17A-4D0B-7039-0AD4-2C5725FB9C5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249" y="3660818"/>
            <a:ext cx="442031" cy="483150"/>
          </a:xfrm>
          <a:prstGeom prst="rect">
            <a:avLst/>
          </a:prstGeom>
        </p:spPr>
      </p:pic>
      <p:pic>
        <p:nvPicPr>
          <p:cNvPr id="56" name="Picture 55" descr="A picture containing logo&#10;&#10;Description automatically generated">
            <a:extLst>
              <a:ext uri="{FF2B5EF4-FFF2-40B4-BE49-F238E27FC236}">
                <a16:creationId xmlns:a16="http://schemas.microsoft.com/office/drawing/2014/main" id="{B3FA5108-D4BA-EE5F-007F-D0C853EE129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0" b="30670"/>
          <a:stretch/>
        </p:blipFill>
        <p:spPr>
          <a:xfrm>
            <a:off x="480512" y="2982483"/>
            <a:ext cx="994946" cy="38464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2B67B95-01FD-AC12-6474-EF9FBD0AE055}"/>
              </a:ext>
            </a:extLst>
          </p:cNvPr>
          <p:cNvSpPr/>
          <p:nvPr/>
        </p:nvSpPr>
        <p:spPr>
          <a:xfrm>
            <a:off x="5747957" y="4741461"/>
            <a:ext cx="2964543" cy="134084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pic>
        <p:nvPicPr>
          <p:cNvPr id="61" name="Picture 60" descr="Logo, company name&#10;&#10;Description automatically generated">
            <a:extLst>
              <a:ext uri="{FF2B5EF4-FFF2-40B4-BE49-F238E27FC236}">
                <a16:creationId xmlns:a16="http://schemas.microsoft.com/office/drawing/2014/main" id="{A006A612-3D1C-FBE3-C741-D20B775BB5B4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7" t="12384" r="15499" b="17655"/>
          <a:stretch/>
        </p:blipFill>
        <p:spPr>
          <a:xfrm>
            <a:off x="6264553" y="4955217"/>
            <a:ext cx="1695673" cy="755543"/>
          </a:xfrm>
          <a:prstGeom prst="rect">
            <a:avLst/>
          </a:prstGeom>
        </p:spPr>
      </p:pic>
      <p:sp>
        <p:nvSpPr>
          <p:cNvPr id="154" name="Rectangle 153">
            <a:extLst>
              <a:ext uri="{FF2B5EF4-FFF2-40B4-BE49-F238E27FC236}">
                <a16:creationId xmlns:a16="http://schemas.microsoft.com/office/drawing/2014/main" id="{BA33D995-ED10-9C65-21EA-46EEA259A800}"/>
              </a:ext>
            </a:extLst>
          </p:cNvPr>
          <p:cNvSpPr/>
          <p:nvPr/>
        </p:nvSpPr>
        <p:spPr>
          <a:xfrm>
            <a:off x="5403120" y="2615072"/>
            <a:ext cx="3752767" cy="247398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TU UNIVERSITI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C18DC728-E504-E02D-5B2F-8E2A9822704B}"/>
              </a:ext>
            </a:extLst>
          </p:cNvPr>
          <p:cNvSpPr/>
          <p:nvPr/>
        </p:nvSpPr>
        <p:spPr>
          <a:xfrm>
            <a:off x="9261072" y="2609498"/>
            <a:ext cx="2597218" cy="240527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INSTITUTES OF TECHNOLOGY</a:t>
            </a:r>
          </a:p>
        </p:txBody>
      </p:sp>
      <p:pic>
        <p:nvPicPr>
          <p:cNvPr id="119" name="Picture 118" descr="Graphical user interface, text&#10;&#10;Description automatically generated with medium confidence">
            <a:extLst>
              <a:ext uri="{FF2B5EF4-FFF2-40B4-BE49-F238E27FC236}">
                <a16:creationId xmlns:a16="http://schemas.microsoft.com/office/drawing/2014/main" id="{40A6B997-6AB3-465A-00D6-DE4B98376063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9" t="11681" b="21135"/>
          <a:stretch/>
        </p:blipFill>
        <p:spPr>
          <a:xfrm>
            <a:off x="7789669" y="3671208"/>
            <a:ext cx="1294009" cy="494754"/>
          </a:xfrm>
          <a:prstGeom prst="rect">
            <a:avLst/>
          </a:prstGeom>
        </p:spPr>
      </p:pic>
      <p:pic>
        <p:nvPicPr>
          <p:cNvPr id="121" name="Picture 120" descr="Map&#10;&#10;Description automatically generated with medium confidence">
            <a:extLst>
              <a:ext uri="{FF2B5EF4-FFF2-40B4-BE49-F238E27FC236}">
                <a16:creationId xmlns:a16="http://schemas.microsoft.com/office/drawing/2014/main" id="{28402E1C-C235-8494-0F1D-9C86B13139F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9" t="10889" r="10889" b="10889"/>
          <a:stretch/>
        </p:blipFill>
        <p:spPr>
          <a:xfrm>
            <a:off x="5752905" y="3673887"/>
            <a:ext cx="718128" cy="537903"/>
          </a:xfrm>
          <a:prstGeom prst="rect">
            <a:avLst/>
          </a:prstGeom>
        </p:spPr>
      </p:pic>
      <p:pic>
        <p:nvPicPr>
          <p:cNvPr id="127" name="Picture 126" descr="Text&#10;&#10;Description automatically generated with low confidence">
            <a:extLst>
              <a:ext uri="{FF2B5EF4-FFF2-40B4-BE49-F238E27FC236}">
                <a16:creationId xmlns:a16="http://schemas.microsoft.com/office/drawing/2014/main" id="{B2846B97-32DC-B838-4FD0-3B504AA2FAC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08" t="19076" r="8108" b="19076"/>
          <a:stretch/>
        </p:blipFill>
        <p:spPr>
          <a:xfrm>
            <a:off x="7522185" y="2911448"/>
            <a:ext cx="1633702" cy="494754"/>
          </a:xfrm>
          <a:prstGeom prst="rect">
            <a:avLst/>
          </a:prstGeom>
        </p:spPr>
      </p:pic>
      <p:pic>
        <p:nvPicPr>
          <p:cNvPr id="129" name="Picture 128" descr="A picture containing logo&#10;&#10;Description automatically generated">
            <a:extLst>
              <a:ext uri="{FF2B5EF4-FFF2-40B4-BE49-F238E27FC236}">
                <a16:creationId xmlns:a16="http://schemas.microsoft.com/office/drawing/2014/main" id="{6996F84B-72B6-B5A1-C04D-9253D8A8DEAF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5" b="27777"/>
          <a:stretch/>
        </p:blipFill>
        <p:spPr>
          <a:xfrm>
            <a:off x="6594967" y="2898907"/>
            <a:ext cx="891343" cy="531222"/>
          </a:xfrm>
          <a:prstGeom prst="rect">
            <a:avLst/>
          </a:prstGeom>
        </p:spPr>
      </p:pic>
      <p:pic>
        <p:nvPicPr>
          <p:cNvPr id="131" name="Picture 130" descr="Text&#10;&#10;Description automatically generated">
            <a:extLst>
              <a:ext uri="{FF2B5EF4-FFF2-40B4-BE49-F238E27FC236}">
                <a16:creationId xmlns:a16="http://schemas.microsoft.com/office/drawing/2014/main" id="{4488C861-BFB2-A541-B7EF-F54059A53A6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5443" y="2890860"/>
            <a:ext cx="839884" cy="528266"/>
          </a:xfrm>
          <a:prstGeom prst="rect">
            <a:avLst/>
          </a:prstGeom>
        </p:spPr>
      </p:pic>
      <p:pic>
        <p:nvPicPr>
          <p:cNvPr id="20" name="Picture 19" descr="A picture containing shape&#10;&#10;Description automatically generated">
            <a:extLst>
              <a:ext uri="{FF2B5EF4-FFF2-40B4-BE49-F238E27FC236}">
                <a16:creationId xmlns:a16="http://schemas.microsoft.com/office/drawing/2014/main" id="{905EB78A-0F84-5EDA-4F11-755CF2B4A45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800903" y="3552457"/>
            <a:ext cx="830770" cy="6662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C0D64D96-4579-0330-D7B6-16C76C7AF00D}"/>
              </a:ext>
            </a:extLst>
          </p:cNvPr>
          <p:cNvGrpSpPr/>
          <p:nvPr/>
        </p:nvGrpSpPr>
        <p:grpSpPr>
          <a:xfrm>
            <a:off x="332673" y="1276662"/>
            <a:ext cx="11525616" cy="1124699"/>
            <a:chOff x="332673" y="2988410"/>
            <a:chExt cx="11525616" cy="1124699"/>
          </a:xfrm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D60F5CBF-A35B-4176-C6A2-F82D199E2535}"/>
                </a:ext>
              </a:extLst>
            </p:cNvPr>
            <p:cNvSpPr/>
            <p:nvPr/>
          </p:nvSpPr>
          <p:spPr>
            <a:xfrm>
              <a:off x="4230737" y="2988410"/>
              <a:ext cx="3729489" cy="1124699"/>
            </a:xfrm>
            <a:prstGeom prst="rect">
              <a:avLst/>
            </a:prstGeom>
            <a:solidFill>
              <a:srgbClr val="243D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D6EAE1-0987-9006-6613-096F3CAFEB03}"/>
                </a:ext>
              </a:extLst>
            </p:cNvPr>
            <p:cNvSpPr/>
            <p:nvPr/>
          </p:nvSpPr>
          <p:spPr>
            <a:xfrm>
              <a:off x="332673" y="2988410"/>
              <a:ext cx="3729489" cy="1124699"/>
            </a:xfrm>
            <a:prstGeom prst="rect">
              <a:avLst/>
            </a:prstGeom>
            <a:solidFill>
              <a:srgbClr val="9D2F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1B53770-FFD9-64E7-B402-C9DF703AFB13}"/>
                </a:ext>
              </a:extLst>
            </p:cNvPr>
            <p:cNvSpPr/>
            <p:nvPr/>
          </p:nvSpPr>
          <p:spPr>
            <a:xfrm>
              <a:off x="8128800" y="2988410"/>
              <a:ext cx="3729489" cy="1124699"/>
            </a:xfrm>
            <a:prstGeom prst="rect">
              <a:avLst/>
            </a:prstGeom>
            <a:solidFill>
              <a:srgbClr val="FEA7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3089EB1-E141-E5F0-3389-40A231A26B9E}"/>
                </a:ext>
              </a:extLst>
            </p:cNvPr>
            <p:cNvSpPr/>
            <p:nvPr/>
          </p:nvSpPr>
          <p:spPr>
            <a:xfrm>
              <a:off x="4303499" y="3057102"/>
              <a:ext cx="3583965" cy="987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D31C727-C095-EA5B-CB47-C18759A52A76}"/>
                </a:ext>
              </a:extLst>
            </p:cNvPr>
            <p:cNvSpPr/>
            <p:nvPr/>
          </p:nvSpPr>
          <p:spPr>
            <a:xfrm>
              <a:off x="405435" y="3057102"/>
              <a:ext cx="3583965" cy="987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D7E2570-EAB4-571B-626B-1994AB936504}"/>
                </a:ext>
              </a:extLst>
            </p:cNvPr>
            <p:cNvSpPr/>
            <p:nvPr/>
          </p:nvSpPr>
          <p:spPr>
            <a:xfrm>
              <a:off x="8201562" y="3057102"/>
              <a:ext cx="3583965" cy="987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EA8E75B9-83A6-4725-0369-EAB6ABC7E0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l="5466" t="14024" r="5343" b="10636"/>
            <a:stretch/>
          </p:blipFill>
          <p:spPr>
            <a:xfrm>
              <a:off x="544569" y="3185020"/>
              <a:ext cx="3305698" cy="731478"/>
            </a:xfrm>
            <a:prstGeom prst="rect">
              <a:avLst/>
            </a:prstGeom>
          </p:spPr>
        </p:pic>
        <p:pic>
          <p:nvPicPr>
            <p:cNvPr id="12" name="Picture 11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8F07247-8C66-0F11-EAD6-C8DAE44358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53" t="22751" r="12486" b="13385"/>
            <a:stretch/>
          </p:blipFill>
          <p:spPr>
            <a:xfrm>
              <a:off x="4516976" y="3121948"/>
              <a:ext cx="3157010" cy="857622"/>
            </a:xfrm>
            <a:prstGeom prst="rect">
              <a:avLst/>
            </a:prstGeom>
          </p:spPr>
        </p:pic>
        <p:pic>
          <p:nvPicPr>
            <p:cNvPr id="16" name="Picture 15" descr="Text&#10;&#10;Description automatically generated">
              <a:extLst>
                <a:ext uri="{FF2B5EF4-FFF2-40B4-BE49-F238E27FC236}">
                  <a16:creationId xmlns:a16="http://schemas.microsoft.com/office/drawing/2014/main" id="{B3B278C9-D342-7CCB-8FA4-69B4B9342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816168" y="3115902"/>
              <a:ext cx="2354752" cy="869714"/>
            </a:xfrm>
            <a:prstGeom prst="rect">
              <a:avLst/>
            </a:prstGeom>
          </p:spPr>
        </p:pic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805A084-0B32-0FF3-FB27-6A4646429EB5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FE436BA-855C-F757-B5ED-D361DC856F36}"/>
              </a:ext>
            </a:extLst>
          </p:cNvPr>
          <p:cNvGrpSpPr/>
          <p:nvPr/>
        </p:nvGrpSpPr>
        <p:grpSpPr>
          <a:xfrm>
            <a:off x="441867" y="6192716"/>
            <a:ext cx="829973" cy="554136"/>
            <a:chOff x="441867" y="6192716"/>
            <a:chExt cx="829973" cy="554136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65E997-F191-F2F3-94F3-CFED7C09B89B}"/>
                </a:ext>
              </a:extLst>
            </p:cNvPr>
            <p:cNvSpPr/>
            <p:nvPr/>
          </p:nvSpPr>
          <p:spPr>
            <a:xfrm rot="5400000" flipV="1">
              <a:off x="1022845" y="6497857"/>
              <a:ext cx="248995" cy="248995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F33A1FE-3563-085B-0A0B-7EA5D9A959B9}"/>
                </a:ext>
              </a:extLst>
            </p:cNvPr>
            <p:cNvSpPr/>
            <p:nvPr/>
          </p:nvSpPr>
          <p:spPr>
            <a:xfrm rot="5400000" flipV="1">
              <a:off x="441866" y="6192717"/>
              <a:ext cx="378987" cy="378986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" name="Slide Number Placeholder 4">
              <a:extLst>
                <a:ext uri="{FF2B5EF4-FFF2-40B4-BE49-F238E27FC236}">
                  <a16:creationId xmlns:a16="http://schemas.microsoft.com/office/drawing/2014/main" id="{DD9F3571-7043-71C5-A60C-E93907065383}"/>
                </a:ext>
              </a:extLst>
            </p:cNvPr>
            <p:cNvSpPr txBox="1">
              <a:spLocks/>
            </p:cNvSpPr>
            <p:nvPr/>
          </p:nvSpPr>
          <p:spPr>
            <a:xfrm>
              <a:off x="606420" y="6324442"/>
              <a:ext cx="64120" cy="12311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3AA4AE14-256E-4160-8E2D-F13F9E1D91E6}" type="slidenum">
                <a:rPr lang="en-US" sz="800" smtClean="0"/>
                <a:pPr/>
                <a:t>4</a:t>
              </a:fld>
              <a:endParaRPr lang="en-US" sz="800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9785B8D4-6B84-6D0F-1018-5A216A1F3A1A}"/>
              </a:ext>
            </a:extLst>
          </p:cNvPr>
          <p:cNvSpPr/>
          <p:nvPr/>
        </p:nvSpPr>
        <p:spPr>
          <a:xfrm>
            <a:off x="8895448" y="4525438"/>
            <a:ext cx="2964543" cy="152385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1AA31B-6188-0ECF-8E5A-424971C2DF4C}"/>
              </a:ext>
            </a:extLst>
          </p:cNvPr>
          <p:cNvSpPr/>
          <p:nvPr/>
        </p:nvSpPr>
        <p:spPr>
          <a:xfrm>
            <a:off x="5723558" y="4434702"/>
            <a:ext cx="2985458" cy="278751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ETB’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A3B848F-01C4-C779-84CB-84E84C76544A}"/>
              </a:ext>
            </a:extLst>
          </p:cNvPr>
          <p:cNvSpPr/>
          <p:nvPr/>
        </p:nvSpPr>
        <p:spPr>
          <a:xfrm>
            <a:off x="332007" y="4710117"/>
            <a:ext cx="5338467" cy="1339176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AE80AC6-66EF-7AF1-F349-EA2CC111A6BB}"/>
              </a:ext>
            </a:extLst>
          </p:cNvPr>
          <p:cNvSpPr/>
          <p:nvPr/>
        </p:nvSpPr>
        <p:spPr>
          <a:xfrm>
            <a:off x="319576" y="4421747"/>
            <a:ext cx="5338467" cy="278751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HEI'S IRELAND</a:t>
            </a:r>
            <a:endParaRPr lang="en-US" sz="1100" b="1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B64C155-C188-4272-38D0-886C6AE5498A}"/>
              </a:ext>
            </a:extLst>
          </p:cNvPr>
          <p:cNvSpPr/>
          <p:nvPr/>
        </p:nvSpPr>
        <p:spPr>
          <a:xfrm>
            <a:off x="9257193" y="2854056"/>
            <a:ext cx="2615231" cy="15591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 dirty="0">
              <a:solidFill>
                <a:srgbClr val="4C8F36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8AEF8FF-177D-564E-7E79-4F147DC19FEB}"/>
              </a:ext>
            </a:extLst>
          </p:cNvPr>
          <p:cNvSpPr/>
          <p:nvPr/>
        </p:nvSpPr>
        <p:spPr>
          <a:xfrm>
            <a:off x="8872831" y="4413547"/>
            <a:ext cx="2985458" cy="278751"/>
          </a:xfrm>
          <a:prstGeom prst="rect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PRIMARY AND SECONDARY SCHOOL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E7EA8D-8981-7518-02A7-C99E235026C3}"/>
              </a:ext>
            </a:extLst>
          </p:cNvPr>
          <p:cNvGrpSpPr/>
          <p:nvPr/>
        </p:nvGrpSpPr>
        <p:grpSpPr>
          <a:xfrm>
            <a:off x="9303521" y="2919624"/>
            <a:ext cx="2379033" cy="1292205"/>
            <a:chOff x="8882783" y="2928750"/>
            <a:chExt cx="2379033" cy="1292205"/>
          </a:xfrm>
        </p:grpSpPr>
        <p:pic>
          <p:nvPicPr>
            <p:cNvPr id="63" name="Picture 62" descr="Logo, company name&#10;&#10;Description automatically generated">
              <a:extLst>
                <a:ext uri="{FF2B5EF4-FFF2-40B4-BE49-F238E27FC236}">
                  <a16:creationId xmlns:a16="http://schemas.microsoft.com/office/drawing/2014/main" id="{3D3359B4-FFDA-BB33-110F-550A85EBB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4559" y="3459425"/>
              <a:ext cx="1297257" cy="761530"/>
            </a:xfrm>
            <a:prstGeom prst="rect">
              <a:avLst/>
            </a:prstGeom>
          </p:spPr>
        </p:pic>
        <p:pic>
          <p:nvPicPr>
            <p:cNvPr id="64" name="Picture 63" descr="Logo, company name&#10;&#10;Description automatically generated">
              <a:extLst>
                <a:ext uri="{FF2B5EF4-FFF2-40B4-BE49-F238E27FC236}">
                  <a16:creationId xmlns:a16="http://schemas.microsoft.com/office/drawing/2014/main" id="{E69EDB9E-CF52-E67D-5AF3-A26C6189B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3191" y="3688897"/>
              <a:ext cx="1003618" cy="527710"/>
            </a:xfrm>
            <a:prstGeom prst="rect">
              <a:avLst/>
            </a:prstGeom>
          </p:spPr>
        </p:pic>
        <p:pic>
          <p:nvPicPr>
            <p:cNvPr id="65" name="Picture 64" descr="A picture containing timeline&#10;&#10;Description automatically generated">
              <a:extLst>
                <a:ext uri="{FF2B5EF4-FFF2-40B4-BE49-F238E27FC236}">
                  <a16:creationId xmlns:a16="http://schemas.microsoft.com/office/drawing/2014/main" id="{CC9AB6CB-D388-37FD-45B4-8C57744995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060" b="41060"/>
            <a:stretch/>
          </p:blipFill>
          <p:spPr>
            <a:xfrm>
              <a:off x="8882783" y="2928750"/>
              <a:ext cx="2374330" cy="461076"/>
            </a:xfrm>
            <a:prstGeom prst="rect">
              <a:avLst/>
            </a:prstGeom>
          </p:spPr>
        </p:pic>
      </p:grpSp>
      <p:pic>
        <p:nvPicPr>
          <p:cNvPr id="73" name="Picture 72" descr="A picture containing text&#10;&#10;Description automatically generated">
            <a:extLst>
              <a:ext uri="{FF2B5EF4-FFF2-40B4-BE49-F238E27FC236}">
                <a16:creationId xmlns:a16="http://schemas.microsoft.com/office/drawing/2014/main" id="{639EFC50-520A-620E-4327-FAABCC1716C1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9" t="15315" r="10767" b="4412"/>
          <a:stretch/>
        </p:blipFill>
        <p:spPr>
          <a:xfrm>
            <a:off x="9445331" y="5401551"/>
            <a:ext cx="1620259" cy="558888"/>
          </a:xfrm>
          <a:prstGeom prst="rect">
            <a:avLst/>
          </a:prstGeom>
        </p:spPr>
      </p:pic>
      <p:pic>
        <p:nvPicPr>
          <p:cNvPr id="74" name="Picture 73" descr="Text&#10;&#10;Description automatically generated">
            <a:extLst>
              <a:ext uri="{FF2B5EF4-FFF2-40B4-BE49-F238E27FC236}">
                <a16:creationId xmlns:a16="http://schemas.microsoft.com/office/drawing/2014/main" id="{C4024AA4-9B3A-CD89-DB02-F0DBBB88BC9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7859" y="4712285"/>
            <a:ext cx="1652134" cy="669278"/>
          </a:xfrm>
          <a:prstGeom prst="rect">
            <a:avLst/>
          </a:prstGeom>
        </p:spPr>
      </p:pic>
      <p:pic>
        <p:nvPicPr>
          <p:cNvPr id="75" name="Picture 7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1ED7D25-C33C-BB29-6BCC-1C9861AD52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4925" y="4835450"/>
            <a:ext cx="700814" cy="335266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834C8629-F68B-780B-3B2E-B71D05ABD3F2}"/>
              </a:ext>
            </a:extLst>
          </p:cNvPr>
          <p:cNvGrpSpPr/>
          <p:nvPr/>
        </p:nvGrpSpPr>
        <p:grpSpPr>
          <a:xfrm>
            <a:off x="436940" y="4874760"/>
            <a:ext cx="5046476" cy="1106684"/>
            <a:chOff x="5837556" y="4957923"/>
            <a:chExt cx="5593459" cy="1226637"/>
          </a:xfrm>
        </p:grpSpPr>
        <p:pic>
          <p:nvPicPr>
            <p:cNvPr id="76" name="Picture 75" descr="Logo, company name&#10;&#10;Description automatically generated">
              <a:extLst>
                <a:ext uri="{FF2B5EF4-FFF2-40B4-BE49-F238E27FC236}">
                  <a16:creationId xmlns:a16="http://schemas.microsoft.com/office/drawing/2014/main" id="{E4EB74B2-92FD-E871-00F3-AFBC2ED8D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81117" y="5742347"/>
              <a:ext cx="857250" cy="325001"/>
            </a:xfrm>
            <a:prstGeom prst="rect">
              <a:avLst/>
            </a:prstGeom>
          </p:spPr>
        </p:pic>
        <p:pic>
          <p:nvPicPr>
            <p:cNvPr id="77" name="Picture 7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C44755C0-1BC0-6A2A-D20F-DFB4F4AD4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1809" y="5760478"/>
              <a:ext cx="808038" cy="288739"/>
            </a:xfrm>
            <a:prstGeom prst="rect">
              <a:avLst/>
            </a:prstGeom>
          </p:spPr>
        </p:pic>
        <p:pic>
          <p:nvPicPr>
            <p:cNvPr id="78" name="Picture 77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63A502EB-23F3-C53F-A411-58977AA80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5256" y="5625135"/>
              <a:ext cx="1035972" cy="559425"/>
            </a:xfrm>
            <a:prstGeom prst="rect">
              <a:avLst/>
            </a:prstGeom>
          </p:spPr>
        </p:pic>
        <p:pic>
          <p:nvPicPr>
            <p:cNvPr id="79" name="Picture 78" descr="Logo&#10;&#10;Description automatically generated">
              <a:extLst>
                <a:ext uri="{FF2B5EF4-FFF2-40B4-BE49-F238E27FC236}">
                  <a16:creationId xmlns:a16="http://schemas.microsoft.com/office/drawing/2014/main" id="{A056CD0B-1100-4675-06F3-DC42BA366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4249" y="5004820"/>
              <a:ext cx="1006766" cy="529364"/>
            </a:xfrm>
            <a:prstGeom prst="rect">
              <a:avLst/>
            </a:prstGeom>
          </p:spPr>
        </p:pic>
        <p:pic>
          <p:nvPicPr>
            <p:cNvPr id="80" name="Picture 79" descr="Logo, company name&#10;&#10;Description automatically generated">
              <a:extLst>
                <a:ext uri="{FF2B5EF4-FFF2-40B4-BE49-F238E27FC236}">
                  <a16:creationId xmlns:a16="http://schemas.microsoft.com/office/drawing/2014/main" id="{A9D3D5AB-C069-B0E9-29C7-8DDCD7A584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44" t="23018" r="16244" b="23018"/>
            <a:stretch/>
          </p:blipFill>
          <p:spPr>
            <a:xfrm>
              <a:off x="9490370" y="5047101"/>
              <a:ext cx="847997" cy="397906"/>
            </a:xfrm>
            <a:prstGeom prst="rect">
              <a:avLst/>
            </a:prstGeom>
          </p:spPr>
        </p:pic>
        <p:pic>
          <p:nvPicPr>
            <p:cNvPr id="81" name="Picture 80" descr="Icon&#10;&#10;Description automatically generated">
              <a:extLst>
                <a:ext uri="{FF2B5EF4-FFF2-40B4-BE49-F238E27FC236}">
                  <a16:creationId xmlns:a16="http://schemas.microsoft.com/office/drawing/2014/main" id="{86E1F622-7B8F-6057-9407-C7B335FCE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6938" y="4957923"/>
              <a:ext cx="576262" cy="576262"/>
            </a:xfrm>
            <a:prstGeom prst="rect">
              <a:avLst/>
            </a:prstGeom>
          </p:spPr>
        </p:pic>
        <p:pic>
          <p:nvPicPr>
            <p:cNvPr id="82" name="Picture 81" descr="Logo&#10;&#10;Description automatically generated">
              <a:extLst>
                <a:ext uri="{FF2B5EF4-FFF2-40B4-BE49-F238E27FC236}">
                  <a16:creationId xmlns:a16="http://schemas.microsoft.com/office/drawing/2014/main" id="{008BE14B-6AA0-22CF-6AB1-DBC15B4054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838" b="18838"/>
            <a:stretch/>
          </p:blipFill>
          <p:spPr>
            <a:xfrm>
              <a:off x="7567567" y="4980488"/>
              <a:ext cx="852201" cy="531133"/>
            </a:xfrm>
            <a:prstGeom prst="rect">
              <a:avLst/>
            </a:prstGeom>
          </p:spPr>
        </p:pic>
        <p:pic>
          <p:nvPicPr>
            <p:cNvPr id="83" name="Picture 82" descr="A picture containing application&#10;&#10;Description automatically generated">
              <a:extLst>
                <a:ext uri="{FF2B5EF4-FFF2-40B4-BE49-F238E27FC236}">
                  <a16:creationId xmlns:a16="http://schemas.microsoft.com/office/drawing/2014/main" id="{9AB4CD74-1441-E3E4-901E-0331822E3F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46" t="29440" r="12346" b="29440"/>
            <a:stretch/>
          </p:blipFill>
          <p:spPr>
            <a:xfrm>
              <a:off x="5837556" y="5008410"/>
              <a:ext cx="1482841" cy="4752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1156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852DFE-89D1-B114-496D-9DFB45627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48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852DFE-89D1-B114-496D-9DFB45627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EC05BA2-F948-D205-FD04-30F7053005E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Diagram&#10;&#10;Description automatically generated with low confidence">
            <a:extLst>
              <a:ext uri="{FF2B5EF4-FFF2-40B4-BE49-F238E27FC236}">
                <a16:creationId xmlns:a16="http://schemas.microsoft.com/office/drawing/2014/main" id="{F7548E1D-72D0-B62E-30E5-B2329F5BC7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7" b="26077"/>
          <a:stretch/>
        </p:blipFill>
        <p:spPr>
          <a:xfrm>
            <a:off x="0" y="1"/>
            <a:ext cx="12192000" cy="3890605"/>
          </a:xfrm>
          <a:custGeom>
            <a:avLst/>
            <a:gdLst>
              <a:gd name="connsiteX0" fmla="*/ 0 w 12192000"/>
              <a:gd name="connsiteY0" fmla="*/ 0 h 3890605"/>
              <a:gd name="connsiteX1" fmla="*/ 12192000 w 12192000"/>
              <a:gd name="connsiteY1" fmla="*/ 0 h 3890605"/>
              <a:gd name="connsiteX2" fmla="*/ 12192000 w 12192000"/>
              <a:gd name="connsiteY2" fmla="*/ 3890605 h 3890605"/>
              <a:gd name="connsiteX3" fmla="*/ 0 w 12192000"/>
              <a:gd name="connsiteY3" fmla="*/ 3890605 h 3890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90605">
                <a:moveTo>
                  <a:pt x="0" y="0"/>
                </a:moveTo>
                <a:lnTo>
                  <a:pt x="12192000" y="0"/>
                </a:lnTo>
                <a:lnTo>
                  <a:pt x="12192000" y="3890605"/>
                </a:lnTo>
                <a:lnTo>
                  <a:pt x="0" y="3890605"/>
                </a:lnTo>
                <a:close/>
              </a:path>
            </a:pathLst>
          </a:custGeom>
        </p:spPr>
      </p:pic>
      <p:sp>
        <p:nvSpPr>
          <p:cNvPr id="7" name="Freeform: Shape 3">
            <a:extLst>
              <a:ext uri="{FF2B5EF4-FFF2-40B4-BE49-F238E27FC236}">
                <a16:creationId xmlns:a16="http://schemas.microsoft.com/office/drawing/2014/main" id="{58C52290-8A83-B87C-124A-8F5458CD21F6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32D8A7D-F13A-5BCE-69C2-AA88A1D7182E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2A1E69-8BAA-C121-F374-E5E553F5AEC0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92E7046-FA70-0E69-5DC7-B9E9117D4505}"/>
              </a:ext>
            </a:extLst>
          </p:cNvPr>
          <p:cNvSpPr/>
          <p:nvPr/>
        </p:nvSpPr>
        <p:spPr>
          <a:xfrm>
            <a:off x="0" y="0"/>
            <a:ext cx="12192000" cy="3890605"/>
          </a:xfrm>
          <a:prstGeom prst="rect">
            <a:avLst/>
          </a:prstGeom>
          <a:solidFill>
            <a:srgbClr val="385723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05BF06A-ECB9-3052-A043-B244EBBF36AC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0D95F3B-07B5-B0E8-A420-F222BF164EDF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5</a:t>
            </a:fld>
            <a:endParaRPr lang="en-US" sz="800" dirty="0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5E76052F-7919-6255-99C1-E04D8866C6E4}"/>
              </a:ext>
            </a:extLst>
          </p:cNvPr>
          <p:cNvSpPr/>
          <p:nvPr/>
        </p:nvSpPr>
        <p:spPr>
          <a:xfrm>
            <a:off x="-104775" y="-133345"/>
            <a:ext cx="12296775" cy="4885121"/>
          </a:xfrm>
          <a:prstGeom prst="roundRect">
            <a:avLst>
              <a:gd name="adj" fmla="val 4346"/>
            </a:avLst>
          </a:prstGeom>
          <a:solidFill>
            <a:schemeClr val="bg1">
              <a:alpha val="89804"/>
            </a:schemeClr>
          </a:solidFill>
        </p:spPr>
        <p:txBody>
          <a:bodyPr/>
          <a:lstStyle/>
          <a:p>
            <a:pPr algn="ctr"/>
            <a:r>
              <a:rPr lang="en-US" sz="2400" b="1" dirty="0">
                <a:highlight>
                  <a:srgbClr val="43ADD7"/>
                </a:highlight>
              </a:rPr>
              <a:t> </a:t>
            </a:r>
            <a:endParaRPr lang="en-US" sz="2400" b="1" dirty="0">
              <a:solidFill>
                <a:schemeClr val="bg1"/>
              </a:solidFill>
              <a:highlight>
                <a:srgbClr val="43ADD7"/>
              </a:highlight>
            </a:endParaRP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438AD923-1CEA-57FC-0E50-EEAF584DE2B8}"/>
              </a:ext>
            </a:extLst>
          </p:cNvPr>
          <p:cNvSpPr/>
          <p:nvPr/>
        </p:nvSpPr>
        <p:spPr>
          <a:xfrm>
            <a:off x="515874" y="1257291"/>
            <a:ext cx="2832080" cy="672115"/>
          </a:xfrm>
          <a:prstGeom prst="round2DiagRect">
            <a:avLst>
              <a:gd name="adj1" fmla="val 32266"/>
              <a:gd name="adj2" fmla="val 0"/>
            </a:avLst>
          </a:prstGeom>
          <a:solidFill>
            <a:srgbClr val="43ADD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sz="1400" dirty="0"/>
              <a:t>Each contracting authority creates CPP/MAPP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D131576-916B-7876-1B5E-9F9866FAEF62}"/>
              </a:ext>
            </a:extLst>
          </p:cNvPr>
          <p:cNvSpPr/>
          <p:nvPr/>
        </p:nvSpPr>
        <p:spPr>
          <a:xfrm>
            <a:off x="506184" y="2196204"/>
            <a:ext cx="2841769" cy="589623"/>
          </a:xfrm>
          <a:prstGeom prst="roundRect">
            <a:avLst>
              <a:gd name="adj" fmla="val 50000"/>
            </a:avLst>
          </a:prstGeom>
          <a:solidFill>
            <a:srgbClr val="9D2F9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sz="1400" dirty="0"/>
              <a:t>Send Data to EP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FA49FA2-87B4-28B1-1291-06FF4C03E998}"/>
              </a:ext>
            </a:extLst>
          </p:cNvPr>
          <p:cNvSpPr/>
          <p:nvPr/>
        </p:nvSpPr>
        <p:spPr>
          <a:xfrm>
            <a:off x="506185" y="3114310"/>
            <a:ext cx="2841769" cy="651307"/>
          </a:xfrm>
          <a:prstGeom prst="roundRect">
            <a:avLst>
              <a:gd name="adj" fmla="val 50000"/>
            </a:avLst>
          </a:prstGeom>
          <a:solidFill>
            <a:srgbClr val="9D2F9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sz="1400" dirty="0"/>
              <a:t>EPS Receives and Creates Database</a:t>
            </a:r>
          </a:p>
        </p:txBody>
      </p:sp>
      <p:sp>
        <p:nvSpPr>
          <p:cNvPr id="18" name="Cylinder 17">
            <a:extLst>
              <a:ext uri="{FF2B5EF4-FFF2-40B4-BE49-F238E27FC236}">
                <a16:creationId xmlns:a16="http://schemas.microsoft.com/office/drawing/2014/main" id="{C891DFEE-F427-8E69-DF79-23050E562EFD}"/>
              </a:ext>
            </a:extLst>
          </p:cNvPr>
          <p:cNvSpPr/>
          <p:nvPr/>
        </p:nvSpPr>
        <p:spPr>
          <a:xfrm rot="5400000">
            <a:off x="5869793" y="2334959"/>
            <a:ext cx="903164" cy="2018733"/>
          </a:xfrm>
          <a:prstGeom prst="can">
            <a:avLst/>
          </a:prstGeom>
          <a:solidFill>
            <a:srgbClr val="9D2F9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/>
              <a:t>Repository of ALL MAPP Data</a:t>
            </a: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C4740351-39D8-7630-0E5F-64550D60AE99}"/>
              </a:ext>
            </a:extLst>
          </p:cNvPr>
          <p:cNvSpPr/>
          <p:nvPr/>
        </p:nvSpPr>
        <p:spPr>
          <a:xfrm>
            <a:off x="515874" y="5102510"/>
            <a:ext cx="2841769" cy="651307"/>
          </a:xfrm>
          <a:prstGeom prst="round2DiagRect">
            <a:avLst>
              <a:gd name="adj1" fmla="val 32266"/>
              <a:gd name="adj2" fmla="val 0"/>
            </a:avLst>
          </a:prstGeom>
          <a:solidFill>
            <a:srgbClr val="43ADD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sz="1400" dirty="0"/>
              <a:t>Facilitates Ongoing Category Management</a:t>
            </a:r>
          </a:p>
        </p:txBody>
      </p:sp>
      <p:sp>
        <p:nvSpPr>
          <p:cNvPr id="20" name="Flowchart: Predefined Process 19">
            <a:extLst>
              <a:ext uri="{FF2B5EF4-FFF2-40B4-BE49-F238E27FC236}">
                <a16:creationId xmlns:a16="http://schemas.microsoft.com/office/drawing/2014/main" id="{BBE55452-8840-4F82-9CCE-CF1ED375AB52}"/>
              </a:ext>
            </a:extLst>
          </p:cNvPr>
          <p:cNvSpPr/>
          <p:nvPr/>
        </p:nvSpPr>
        <p:spPr>
          <a:xfrm>
            <a:off x="515874" y="4184405"/>
            <a:ext cx="2841769" cy="651307"/>
          </a:xfrm>
          <a:prstGeom prst="flowChartPredefinedProcess">
            <a:avLst/>
          </a:prstGeom>
          <a:solidFill>
            <a:srgbClr val="FB900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Information Issued to Relevant Category</a:t>
            </a:r>
          </a:p>
        </p:txBody>
      </p:sp>
      <p:sp>
        <p:nvSpPr>
          <p:cNvPr id="21" name="Flowchart: Document 20">
            <a:extLst>
              <a:ext uri="{FF2B5EF4-FFF2-40B4-BE49-F238E27FC236}">
                <a16:creationId xmlns:a16="http://schemas.microsoft.com/office/drawing/2014/main" id="{3A0CE116-0B53-6228-EECD-D1854B1ECADF}"/>
              </a:ext>
            </a:extLst>
          </p:cNvPr>
          <p:cNvSpPr/>
          <p:nvPr/>
        </p:nvSpPr>
        <p:spPr>
          <a:xfrm>
            <a:off x="5312009" y="4058478"/>
            <a:ext cx="2018734" cy="903162"/>
          </a:xfrm>
          <a:prstGeom prst="flowChartDocument">
            <a:avLst/>
          </a:prstGeom>
          <a:solidFill>
            <a:srgbClr val="FB900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ports Created</a:t>
            </a:r>
          </a:p>
        </p:txBody>
      </p:sp>
      <p:sp>
        <p:nvSpPr>
          <p:cNvPr id="22" name="Flowchart: Predefined Process 21">
            <a:extLst>
              <a:ext uri="{FF2B5EF4-FFF2-40B4-BE49-F238E27FC236}">
                <a16:creationId xmlns:a16="http://schemas.microsoft.com/office/drawing/2014/main" id="{CADE1A1F-5F4D-BA96-56FE-BC7DAB0AC2EC}"/>
              </a:ext>
            </a:extLst>
          </p:cNvPr>
          <p:cNvSpPr/>
          <p:nvPr/>
        </p:nvSpPr>
        <p:spPr>
          <a:xfrm>
            <a:off x="9308256" y="2962269"/>
            <a:ext cx="2367870" cy="777236"/>
          </a:xfrm>
          <a:prstGeom prst="flowChartPredefinedProcess">
            <a:avLst/>
          </a:prstGeom>
          <a:solidFill>
            <a:srgbClr val="FB900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ata Sorted and </a:t>
            </a:r>
            <a:r>
              <a:rPr lang="en-US" sz="1400" dirty="0" err="1">
                <a:solidFill>
                  <a:schemeClr val="bg1"/>
                </a:solidFill>
              </a:rPr>
              <a:t>Analysed</a:t>
            </a:r>
            <a:r>
              <a:rPr lang="en-US" sz="1400" dirty="0">
                <a:solidFill>
                  <a:schemeClr val="bg1"/>
                </a:solidFill>
              </a:rPr>
              <a:t> by Category</a:t>
            </a:r>
          </a:p>
        </p:txBody>
      </p:sp>
      <p:sp>
        <p:nvSpPr>
          <p:cNvPr id="23" name="Flowchart: Data 22">
            <a:extLst>
              <a:ext uri="{FF2B5EF4-FFF2-40B4-BE49-F238E27FC236}">
                <a16:creationId xmlns:a16="http://schemas.microsoft.com/office/drawing/2014/main" id="{68416208-E3EA-0E3B-5276-401AF2B758D7}"/>
              </a:ext>
            </a:extLst>
          </p:cNvPr>
          <p:cNvSpPr/>
          <p:nvPr/>
        </p:nvSpPr>
        <p:spPr>
          <a:xfrm>
            <a:off x="9308256" y="4058478"/>
            <a:ext cx="2367870" cy="903162"/>
          </a:xfrm>
          <a:prstGeom prst="flowChartInputOutput">
            <a:avLst/>
          </a:prstGeom>
          <a:solidFill>
            <a:srgbClr val="0E6B7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/>
              <a:t>Final Data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D8B40DE-1717-E4DB-81ED-A379054B8D68}"/>
              </a:ext>
            </a:extLst>
          </p:cNvPr>
          <p:cNvCxnSpPr>
            <a:cxnSpLocks/>
            <a:stCxn id="15" idx="1"/>
          </p:cNvCxnSpPr>
          <p:nvPr/>
        </p:nvCxnSpPr>
        <p:spPr>
          <a:xfrm>
            <a:off x="1931914" y="1929406"/>
            <a:ext cx="4844" cy="266798"/>
          </a:xfrm>
          <a:prstGeom prst="straightConnector1">
            <a:avLst/>
          </a:prstGeom>
          <a:ln w="19050">
            <a:solidFill>
              <a:srgbClr val="1E2C2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2DCF8AD-CB14-9A8B-BD44-21455A33C230}"/>
              </a:ext>
            </a:extLst>
          </p:cNvPr>
          <p:cNvCxnSpPr>
            <a:cxnSpLocks/>
          </p:cNvCxnSpPr>
          <p:nvPr/>
        </p:nvCxnSpPr>
        <p:spPr>
          <a:xfrm flipH="1">
            <a:off x="1939775" y="2722864"/>
            <a:ext cx="1" cy="392724"/>
          </a:xfrm>
          <a:prstGeom prst="straightConnector1">
            <a:avLst/>
          </a:prstGeom>
          <a:ln w="19050">
            <a:solidFill>
              <a:srgbClr val="1E2C2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E59D3E8-2C76-87ED-E394-99E34F27C566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1936758" y="3665754"/>
            <a:ext cx="0" cy="518651"/>
          </a:xfrm>
          <a:prstGeom prst="straightConnector1">
            <a:avLst/>
          </a:prstGeom>
          <a:ln w="19050">
            <a:solidFill>
              <a:srgbClr val="1E2C2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7A6D606-C5F9-538F-18E0-A29F0759132A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1936758" y="4835712"/>
            <a:ext cx="0" cy="266797"/>
          </a:xfrm>
          <a:prstGeom prst="straightConnector1">
            <a:avLst/>
          </a:prstGeom>
          <a:ln w="19050">
            <a:solidFill>
              <a:srgbClr val="1E2C2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0AEE378-860A-1C3B-FD5F-C25B381A3F34}"/>
              </a:ext>
            </a:extLst>
          </p:cNvPr>
          <p:cNvCxnSpPr>
            <a:cxnSpLocks/>
            <a:endCxn id="18" idx="3"/>
          </p:cNvCxnSpPr>
          <p:nvPr/>
        </p:nvCxnSpPr>
        <p:spPr>
          <a:xfrm>
            <a:off x="3357643" y="3340100"/>
            <a:ext cx="1954366" cy="4225"/>
          </a:xfrm>
          <a:prstGeom prst="straightConnector1">
            <a:avLst/>
          </a:prstGeom>
          <a:ln w="19050">
            <a:solidFill>
              <a:srgbClr val="1E2C25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FD33278-BAE1-AE89-DEBE-30B8B3A59A4E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3357643" y="4510059"/>
            <a:ext cx="1954366" cy="0"/>
          </a:xfrm>
          <a:prstGeom prst="straightConnector1">
            <a:avLst/>
          </a:prstGeom>
          <a:ln w="19050">
            <a:solidFill>
              <a:srgbClr val="1E2C25"/>
            </a:solidFill>
            <a:prstDash val="dash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C418BE1-65C8-9EF9-FAAD-96641B3F478F}"/>
              </a:ext>
            </a:extLst>
          </p:cNvPr>
          <p:cNvCxnSpPr>
            <a:cxnSpLocks/>
            <a:stCxn id="18" idx="1"/>
            <a:endCxn id="22" idx="1"/>
          </p:cNvCxnSpPr>
          <p:nvPr/>
        </p:nvCxnSpPr>
        <p:spPr>
          <a:xfrm>
            <a:off x="7330742" y="3344326"/>
            <a:ext cx="1977515" cy="6562"/>
          </a:xfrm>
          <a:prstGeom prst="straightConnector1">
            <a:avLst/>
          </a:prstGeom>
          <a:ln w="19050">
            <a:solidFill>
              <a:srgbClr val="1E2C25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DAD4D48-89BE-5B3C-BCAE-F7B7B499130E}"/>
              </a:ext>
            </a:extLst>
          </p:cNvPr>
          <p:cNvCxnSpPr>
            <a:cxnSpLocks/>
            <a:stCxn id="22" idx="2"/>
            <a:endCxn id="23" idx="1"/>
          </p:cNvCxnSpPr>
          <p:nvPr/>
        </p:nvCxnSpPr>
        <p:spPr>
          <a:xfrm>
            <a:off x="10492192" y="3739505"/>
            <a:ext cx="0" cy="318973"/>
          </a:xfrm>
          <a:prstGeom prst="straightConnector1">
            <a:avLst/>
          </a:prstGeom>
          <a:ln w="19050">
            <a:solidFill>
              <a:srgbClr val="1E2C25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F75FEF2-AF6A-4974-7E18-54CCF969B83F}"/>
              </a:ext>
            </a:extLst>
          </p:cNvPr>
          <p:cNvCxnSpPr>
            <a:cxnSpLocks/>
            <a:stCxn id="23" idx="2"/>
            <a:endCxn id="21" idx="3"/>
          </p:cNvCxnSpPr>
          <p:nvPr/>
        </p:nvCxnSpPr>
        <p:spPr>
          <a:xfrm flipH="1">
            <a:off x="7330743" y="4510059"/>
            <a:ext cx="2214301" cy="0"/>
          </a:xfrm>
          <a:prstGeom prst="straightConnector1">
            <a:avLst/>
          </a:prstGeom>
          <a:ln w="19050">
            <a:solidFill>
              <a:srgbClr val="1E2C25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hape">
            <a:extLst>
              <a:ext uri="{FF2B5EF4-FFF2-40B4-BE49-F238E27FC236}">
                <a16:creationId xmlns:a16="http://schemas.microsoft.com/office/drawing/2014/main" id="{C741C3C7-B111-52E2-BE09-E4DA475C05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5004"/>
            <a:ext cx="10709668" cy="1147168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AC58378-2767-68DE-117B-A16FE15E27FA}"/>
              </a:ext>
            </a:extLst>
          </p:cNvPr>
          <p:cNvSpPr txBox="1"/>
          <p:nvPr/>
        </p:nvSpPr>
        <p:spPr>
          <a:xfrm>
            <a:off x="1872343" y="348242"/>
            <a:ext cx="61579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The Data Process</a:t>
            </a:r>
            <a:endParaRPr lang="en-IE" sz="3200" b="1" dirty="0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A379DA3A-C919-7318-9943-92E2776E29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5873" y="111496"/>
            <a:ext cx="1074802" cy="977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77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805A084-0B32-0FF3-FB27-6A4646429EB5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765E997-F191-F2F3-94F3-CFED7C09B89B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F33A1FE-3563-085B-0A0B-7EA5D9A959B9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D9F3571-7043-71C5-A60C-E93907065383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6</a:t>
            </a:fld>
            <a:endParaRPr lang="en-US" sz="800" dirty="0"/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56096372-4CAA-B700-445C-CC9C73D608F3}"/>
              </a:ext>
            </a:extLst>
          </p:cNvPr>
          <p:cNvSpPr/>
          <p:nvPr/>
        </p:nvSpPr>
        <p:spPr>
          <a:xfrm>
            <a:off x="1409311" y="333137"/>
            <a:ext cx="3082580" cy="1746229"/>
          </a:xfrm>
          <a:custGeom>
            <a:avLst/>
            <a:gdLst>
              <a:gd name="connsiteX0" fmla="*/ 3049215 w 3082580"/>
              <a:gd name="connsiteY0" fmla="*/ 1746229 h 1746229"/>
              <a:gd name="connsiteX1" fmla="*/ 2026913 w 3082580"/>
              <a:gd name="connsiteY1" fmla="*/ 1381098 h 1746229"/>
              <a:gd name="connsiteX2" fmla="*/ 2000621 w 3082580"/>
              <a:gd name="connsiteY2" fmla="*/ 1381098 h 1746229"/>
              <a:gd name="connsiteX3" fmla="*/ 2000416 w 3082580"/>
              <a:gd name="connsiteY3" fmla="*/ 884743 h 1746229"/>
              <a:gd name="connsiteX4" fmla="*/ 2194678 w 3082580"/>
              <a:gd name="connsiteY4" fmla="*/ 690596 h 1746229"/>
              <a:gd name="connsiteX5" fmla="*/ 2000321 w 3082580"/>
              <a:gd name="connsiteY5" fmla="*/ 496402 h 1746229"/>
              <a:gd name="connsiteX6" fmla="*/ 2000147 w 3082580"/>
              <a:gd name="connsiteY6" fmla="*/ 52745 h 1746229"/>
              <a:gd name="connsiteX7" fmla="*/ 35622 w 3082580"/>
              <a:gd name="connsiteY7" fmla="*/ 828164 h 1746229"/>
              <a:gd name="connsiteX8" fmla="*/ 0 w 3082580"/>
              <a:gd name="connsiteY8" fmla="*/ 789400 h 1746229"/>
              <a:gd name="connsiteX9" fmla="*/ 2026455 w 3082580"/>
              <a:gd name="connsiteY9" fmla="*/ 0 h 1746229"/>
              <a:gd name="connsiteX10" fmla="*/ 2052763 w 3082580"/>
              <a:gd name="connsiteY10" fmla="*/ 0 h 1746229"/>
              <a:gd name="connsiteX11" fmla="*/ 2052953 w 3082580"/>
              <a:gd name="connsiteY11" fmla="*/ 474612 h 1746229"/>
              <a:gd name="connsiteX12" fmla="*/ 2269149 w 3082580"/>
              <a:gd name="connsiteY12" fmla="*/ 690549 h 1746229"/>
              <a:gd name="connsiteX13" fmla="*/ 2053063 w 3082580"/>
              <a:gd name="connsiteY13" fmla="*/ 906532 h 1746229"/>
              <a:gd name="connsiteX14" fmla="*/ 2053221 w 3082580"/>
              <a:gd name="connsiteY14" fmla="*/ 1328680 h 1746229"/>
              <a:gd name="connsiteX15" fmla="*/ 2597194 w 3082580"/>
              <a:gd name="connsiteY15" fmla="*/ 1428652 h 1746229"/>
              <a:gd name="connsiteX16" fmla="*/ 3082581 w 3082580"/>
              <a:gd name="connsiteY16" fmla="*/ 1705520 h 1746229"/>
              <a:gd name="connsiteX17" fmla="*/ 3049215 w 3082580"/>
              <a:gd name="connsiteY17" fmla="*/ 1746229 h 1746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82580" h="1746229">
                <a:moveTo>
                  <a:pt x="3049215" y="1746229"/>
                </a:moveTo>
                <a:cubicBezTo>
                  <a:pt x="2762037" y="1510763"/>
                  <a:pt x="2398984" y="1381098"/>
                  <a:pt x="2026913" y="1381098"/>
                </a:cubicBezTo>
                <a:lnTo>
                  <a:pt x="2000621" y="1381098"/>
                </a:lnTo>
                <a:lnTo>
                  <a:pt x="2000416" y="884743"/>
                </a:lnTo>
                <a:lnTo>
                  <a:pt x="2194678" y="690596"/>
                </a:lnTo>
                <a:lnTo>
                  <a:pt x="2000321" y="496402"/>
                </a:lnTo>
                <a:lnTo>
                  <a:pt x="2000147" y="52745"/>
                </a:lnTo>
                <a:cubicBezTo>
                  <a:pt x="1269856" y="59198"/>
                  <a:pt x="573162" y="333958"/>
                  <a:pt x="35622" y="828164"/>
                </a:cubicBezTo>
                <a:lnTo>
                  <a:pt x="0" y="789400"/>
                </a:lnTo>
                <a:cubicBezTo>
                  <a:pt x="553720" y="280371"/>
                  <a:pt x="1273393" y="0"/>
                  <a:pt x="2026455" y="0"/>
                </a:cubicBezTo>
                <a:lnTo>
                  <a:pt x="2052763" y="0"/>
                </a:lnTo>
                <a:lnTo>
                  <a:pt x="2052953" y="474612"/>
                </a:lnTo>
                <a:lnTo>
                  <a:pt x="2269149" y="690549"/>
                </a:lnTo>
                <a:lnTo>
                  <a:pt x="2053063" y="906532"/>
                </a:lnTo>
                <a:lnTo>
                  <a:pt x="2053221" y="1328680"/>
                </a:lnTo>
                <a:cubicBezTo>
                  <a:pt x="2240030" y="1331580"/>
                  <a:pt x="2422907" y="1365153"/>
                  <a:pt x="2597194" y="1428652"/>
                </a:cubicBezTo>
                <a:cubicBezTo>
                  <a:pt x="2773533" y="1492854"/>
                  <a:pt x="2936829" y="1586028"/>
                  <a:pt x="3082581" y="1705520"/>
                </a:cubicBezTo>
                <a:lnTo>
                  <a:pt x="3049215" y="1746229"/>
                </a:lnTo>
              </a:path>
            </a:pathLst>
          </a:custGeom>
          <a:solidFill>
            <a:srgbClr val="1E2C25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5AF407CD-A729-42B0-5C34-74499894F77F}"/>
              </a:ext>
            </a:extLst>
          </p:cNvPr>
          <p:cNvSpPr/>
          <p:nvPr/>
        </p:nvSpPr>
        <p:spPr>
          <a:xfrm>
            <a:off x="2368540" y="4566025"/>
            <a:ext cx="3094727" cy="1755956"/>
          </a:xfrm>
          <a:custGeom>
            <a:avLst/>
            <a:gdLst>
              <a:gd name="connsiteX0" fmla="*/ 1068269 w 3094727"/>
              <a:gd name="connsiteY0" fmla="*/ 1755957 h 1755956"/>
              <a:gd name="connsiteX1" fmla="*/ 1041945 w 3094727"/>
              <a:gd name="connsiteY1" fmla="*/ 1755957 h 1755956"/>
              <a:gd name="connsiteX2" fmla="*/ 1041866 w 3094727"/>
              <a:gd name="connsiteY2" fmla="*/ 1286771 h 1755956"/>
              <a:gd name="connsiteX3" fmla="*/ 826097 w 3094727"/>
              <a:gd name="connsiteY3" fmla="*/ 1064621 h 1755956"/>
              <a:gd name="connsiteX4" fmla="*/ 1041787 w 3094727"/>
              <a:gd name="connsiteY4" fmla="*/ 848930 h 1755956"/>
              <a:gd name="connsiteX5" fmla="*/ 1041503 w 3094727"/>
              <a:gd name="connsiteY5" fmla="*/ 426787 h 1755956"/>
              <a:gd name="connsiteX6" fmla="*/ 489983 w 3094727"/>
              <a:gd name="connsiteY6" fmla="*/ 324318 h 1755956"/>
              <a:gd name="connsiteX7" fmla="*/ 0 w 3094727"/>
              <a:gd name="connsiteY7" fmla="*/ 40393 h 1755956"/>
              <a:gd name="connsiteX8" fmla="*/ 33761 w 3094727"/>
              <a:gd name="connsiteY8" fmla="*/ 0 h 1755956"/>
              <a:gd name="connsiteX9" fmla="*/ 1067811 w 3094727"/>
              <a:gd name="connsiteY9" fmla="*/ 374344 h 1755956"/>
              <a:gd name="connsiteX10" fmla="*/ 1094103 w 3094727"/>
              <a:gd name="connsiteY10" fmla="*/ 374344 h 1755956"/>
              <a:gd name="connsiteX11" fmla="*/ 1094419 w 3094727"/>
              <a:gd name="connsiteY11" fmla="*/ 870722 h 1755956"/>
              <a:gd name="connsiteX12" fmla="*/ 899999 w 3094727"/>
              <a:gd name="connsiteY12" fmla="*/ 1065174 h 1755956"/>
              <a:gd name="connsiteX13" fmla="*/ 1094498 w 3094727"/>
              <a:gd name="connsiteY13" fmla="*/ 1265421 h 1755956"/>
              <a:gd name="connsiteX14" fmla="*/ 1094593 w 3094727"/>
              <a:gd name="connsiteY14" fmla="*/ 1703214 h 1755956"/>
              <a:gd name="connsiteX15" fmla="*/ 3059103 w 3094727"/>
              <a:gd name="connsiteY15" fmla="*/ 927823 h 1755956"/>
              <a:gd name="connsiteX16" fmla="*/ 3094727 w 3094727"/>
              <a:gd name="connsiteY16" fmla="*/ 966574 h 1755956"/>
              <a:gd name="connsiteX17" fmla="*/ 1068269 w 3094727"/>
              <a:gd name="connsiteY17" fmla="*/ 1755957 h 17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94727" h="1755956">
                <a:moveTo>
                  <a:pt x="1068269" y="1755957"/>
                </a:moveTo>
                <a:lnTo>
                  <a:pt x="1041945" y="1755957"/>
                </a:lnTo>
                <a:lnTo>
                  <a:pt x="1041866" y="1286771"/>
                </a:lnTo>
                <a:lnTo>
                  <a:pt x="826097" y="1064621"/>
                </a:lnTo>
                <a:lnTo>
                  <a:pt x="1041787" y="848930"/>
                </a:lnTo>
                <a:lnTo>
                  <a:pt x="1041503" y="426787"/>
                </a:lnTo>
                <a:cubicBezTo>
                  <a:pt x="851852" y="423865"/>
                  <a:pt x="666433" y="389440"/>
                  <a:pt x="489983" y="324318"/>
                </a:cubicBezTo>
                <a:cubicBezTo>
                  <a:pt x="311417" y="258406"/>
                  <a:pt x="146557" y="162885"/>
                  <a:pt x="0" y="40393"/>
                </a:cubicBezTo>
                <a:lnTo>
                  <a:pt x="33761" y="0"/>
                </a:lnTo>
                <a:cubicBezTo>
                  <a:pt x="322565" y="241399"/>
                  <a:pt x="689804" y="374344"/>
                  <a:pt x="1067811" y="374344"/>
                </a:cubicBezTo>
                <a:lnTo>
                  <a:pt x="1094103" y="374344"/>
                </a:lnTo>
                <a:lnTo>
                  <a:pt x="1094419" y="870722"/>
                </a:lnTo>
                <a:lnTo>
                  <a:pt x="899999" y="1065174"/>
                </a:lnTo>
                <a:lnTo>
                  <a:pt x="1094498" y="1265421"/>
                </a:lnTo>
                <a:lnTo>
                  <a:pt x="1094593" y="1703214"/>
                </a:lnTo>
                <a:cubicBezTo>
                  <a:pt x="1824869" y="1696771"/>
                  <a:pt x="2521542" y="1421990"/>
                  <a:pt x="3059103" y="927823"/>
                </a:cubicBezTo>
                <a:lnTo>
                  <a:pt x="3094727" y="966574"/>
                </a:lnTo>
                <a:cubicBezTo>
                  <a:pt x="2540996" y="1475617"/>
                  <a:pt x="1821332" y="1755957"/>
                  <a:pt x="1068269" y="1755957"/>
                </a:cubicBezTo>
              </a:path>
            </a:pathLst>
          </a:custGeom>
          <a:solidFill>
            <a:srgbClr val="9D2F9D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45528CA1-2769-95A5-71AC-01EA77445B0B}"/>
              </a:ext>
            </a:extLst>
          </p:cNvPr>
          <p:cNvSpPr/>
          <p:nvPr/>
        </p:nvSpPr>
        <p:spPr>
          <a:xfrm>
            <a:off x="3559980" y="335100"/>
            <a:ext cx="2011914" cy="2838321"/>
          </a:xfrm>
          <a:custGeom>
            <a:avLst/>
            <a:gdLst>
              <a:gd name="connsiteX0" fmla="*/ 1482360 w 2011914"/>
              <a:gd name="connsiteY0" fmla="*/ 2838321 h 2838321"/>
              <a:gd name="connsiteX1" fmla="*/ 1017058 w 2011914"/>
              <a:gd name="connsiteY1" fmla="*/ 1851629 h 2838321"/>
              <a:gd name="connsiteX2" fmla="*/ 998441 w 2011914"/>
              <a:gd name="connsiteY2" fmla="*/ 1833043 h 2838321"/>
              <a:gd name="connsiteX3" fmla="*/ 1349288 w 2011914"/>
              <a:gd name="connsiteY3" fmla="*/ 1481818 h 2838321"/>
              <a:gd name="connsiteX4" fmla="*/ 1623848 w 2011914"/>
              <a:gd name="connsiteY4" fmla="*/ 1481818 h 2838321"/>
              <a:gd name="connsiteX5" fmla="*/ 1623754 w 2011914"/>
              <a:gd name="connsiteY5" fmla="*/ 1207198 h 2838321"/>
              <a:gd name="connsiteX6" fmla="*/ 1937428 w 2011914"/>
              <a:gd name="connsiteY6" fmla="*/ 893392 h 2838321"/>
              <a:gd name="connsiteX7" fmla="*/ 0 w 2011914"/>
              <a:gd name="connsiteY7" fmla="*/ 52558 h 2838321"/>
              <a:gd name="connsiteX8" fmla="*/ 2211 w 2011914"/>
              <a:gd name="connsiteY8" fmla="*/ 0 h 2838321"/>
              <a:gd name="connsiteX9" fmla="*/ 1993297 w 2011914"/>
              <a:gd name="connsiteY9" fmla="*/ 874735 h 2838321"/>
              <a:gd name="connsiteX10" fmla="*/ 2011915 w 2011914"/>
              <a:gd name="connsiteY10" fmla="*/ 893347 h 2838321"/>
              <a:gd name="connsiteX11" fmla="*/ 1676417 w 2011914"/>
              <a:gd name="connsiteY11" fmla="*/ 1228988 h 2838321"/>
              <a:gd name="connsiteX12" fmla="*/ 1676512 w 2011914"/>
              <a:gd name="connsiteY12" fmla="*/ 1534471 h 2838321"/>
              <a:gd name="connsiteX13" fmla="*/ 1371064 w 2011914"/>
              <a:gd name="connsiteY13" fmla="*/ 1534471 h 2838321"/>
              <a:gd name="connsiteX14" fmla="*/ 1072722 w 2011914"/>
              <a:gd name="connsiteY14" fmla="*/ 1833169 h 2838321"/>
              <a:gd name="connsiteX15" fmla="*/ 1380286 w 2011914"/>
              <a:gd name="connsiteY15" fmla="*/ 2275021 h 2838321"/>
              <a:gd name="connsiteX16" fmla="*/ 1534723 w 2011914"/>
              <a:gd name="connsiteY16" fmla="*/ 2833347 h 2838321"/>
              <a:gd name="connsiteX17" fmla="*/ 1482360 w 2011914"/>
              <a:gd name="connsiteY17" fmla="*/ 2838321 h 2838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11914" h="2838321">
                <a:moveTo>
                  <a:pt x="1482360" y="2838321"/>
                </a:moveTo>
                <a:cubicBezTo>
                  <a:pt x="1447146" y="2466914"/>
                  <a:pt x="1281907" y="2116494"/>
                  <a:pt x="1017058" y="1851629"/>
                </a:cubicBezTo>
                <a:lnTo>
                  <a:pt x="998441" y="1833043"/>
                </a:lnTo>
                <a:lnTo>
                  <a:pt x="1349288" y="1481818"/>
                </a:lnTo>
                <a:lnTo>
                  <a:pt x="1623848" y="1481818"/>
                </a:lnTo>
                <a:lnTo>
                  <a:pt x="1623754" y="1207198"/>
                </a:lnTo>
                <a:lnTo>
                  <a:pt x="1937428" y="893392"/>
                </a:lnTo>
                <a:cubicBezTo>
                  <a:pt x="1416479" y="381560"/>
                  <a:pt x="729534" y="83232"/>
                  <a:pt x="0" y="52558"/>
                </a:cubicBezTo>
                <a:lnTo>
                  <a:pt x="2211" y="0"/>
                </a:lnTo>
                <a:cubicBezTo>
                  <a:pt x="753694" y="31563"/>
                  <a:pt x="1460852" y="342235"/>
                  <a:pt x="1993297" y="874735"/>
                </a:cubicBezTo>
                <a:lnTo>
                  <a:pt x="2011915" y="893347"/>
                </a:lnTo>
                <a:lnTo>
                  <a:pt x="1676417" y="1228988"/>
                </a:lnTo>
                <a:lnTo>
                  <a:pt x="1676512" y="1534471"/>
                </a:lnTo>
                <a:lnTo>
                  <a:pt x="1371064" y="1534471"/>
                </a:lnTo>
                <a:lnTo>
                  <a:pt x="1072722" y="1833169"/>
                </a:lnTo>
                <a:cubicBezTo>
                  <a:pt x="1198893" y="1963304"/>
                  <a:pt x="1302294" y="2111851"/>
                  <a:pt x="1380286" y="2275021"/>
                </a:cubicBezTo>
                <a:cubicBezTo>
                  <a:pt x="1464358" y="2450949"/>
                  <a:pt x="1516311" y="2638801"/>
                  <a:pt x="1534723" y="2833347"/>
                </a:cubicBezTo>
                <a:lnTo>
                  <a:pt x="1482360" y="2838321"/>
                </a:lnTo>
              </a:path>
            </a:pathLst>
          </a:custGeom>
          <a:solidFill>
            <a:srgbClr val="9DB4C0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E9A79B7C-EE26-06AC-1E5B-80EA772966B8}"/>
              </a:ext>
            </a:extLst>
          </p:cNvPr>
          <p:cNvSpPr/>
          <p:nvPr/>
        </p:nvSpPr>
        <p:spPr>
          <a:xfrm>
            <a:off x="1300678" y="3483843"/>
            <a:ext cx="2011902" cy="2836195"/>
          </a:xfrm>
          <a:custGeom>
            <a:avLst/>
            <a:gdLst>
              <a:gd name="connsiteX0" fmla="*/ 2009692 w 2011902"/>
              <a:gd name="connsiteY0" fmla="*/ 2836196 h 2836195"/>
              <a:gd name="connsiteX1" fmla="*/ 18607 w 2011902"/>
              <a:gd name="connsiteY1" fmla="*/ 1961478 h 2836195"/>
              <a:gd name="connsiteX2" fmla="*/ 0 w 2011902"/>
              <a:gd name="connsiteY2" fmla="*/ 1942860 h 2836195"/>
              <a:gd name="connsiteX3" fmla="*/ 335825 w 2011902"/>
              <a:gd name="connsiteY3" fmla="*/ 1606794 h 2836195"/>
              <a:gd name="connsiteX4" fmla="*/ 335675 w 2011902"/>
              <a:gd name="connsiteY4" fmla="*/ 1301220 h 2836195"/>
              <a:gd name="connsiteX5" fmla="*/ 641167 w 2011902"/>
              <a:gd name="connsiteY5" fmla="*/ 1301283 h 2836195"/>
              <a:gd name="connsiteX6" fmla="*/ 939180 w 2011902"/>
              <a:gd name="connsiteY6" fmla="*/ 1003020 h 2836195"/>
              <a:gd name="connsiteX7" fmla="*/ 632095 w 2011902"/>
              <a:gd name="connsiteY7" fmla="*/ 562116 h 2836195"/>
              <a:gd name="connsiteX8" fmla="*/ 477362 w 2011902"/>
              <a:gd name="connsiteY8" fmla="*/ 5022 h 2836195"/>
              <a:gd name="connsiteX9" fmla="*/ 529756 w 2011902"/>
              <a:gd name="connsiteY9" fmla="*/ 0 h 2836195"/>
              <a:gd name="connsiteX10" fmla="*/ 994859 w 2011902"/>
              <a:gd name="connsiteY10" fmla="*/ 984560 h 2836195"/>
              <a:gd name="connsiteX11" fmla="*/ 1013461 w 2011902"/>
              <a:gd name="connsiteY11" fmla="*/ 1003147 h 2836195"/>
              <a:gd name="connsiteX12" fmla="*/ 662974 w 2011902"/>
              <a:gd name="connsiteY12" fmla="*/ 1353930 h 2836195"/>
              <a:gd name="connsiteX13" fmla="*/ 388340 w 2011902"/>
              <a:gd name="connsiteY13" fmla="*/ 1353852 h 2836195"/>
              <a:gd name="connsiteX14" fmla="*/ 388476 w 2011902"/>
              <a:gd name="connsiteY14" fmla="*/ 1628554 h 2836195"/>
              <a:gd name="connsiteX15" fmla="*/ 74512 w 2011902"/>
              <a:gd name="connsiteY15" fmla="*/ 1942781 h 2836195"/>
              <a:gd name="connsiteX16" fmla="*/ 2011902 w 2011902"/>
              <a:gd name="connsiteY16" fmla="*/ 2783611 h 2836195"/>
              <a:gd name="connsiteX17" fmla="*/ 2009692 w 2011902"/>
              <a:gd name="connsiteY17" fmla="*/ 2836196 h 2836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11902" h="2836195">
                <a:moveTo>
                  <a:pt x="2009692" y="2836196"/>
                </a:moveTo>
                <a:cubicBezTo>
                  <a:pt x="1258208" y="2804613"/>
                  <a:pt x="551097" y="2493955"/>
                  <a:pt x="18607" y="1961478"/>
                </a:cubicBezTo>
                <a:lnTo>
                  <a:pt x="0" y="1942860"/>
                </a:lnTo>
                <a:lnTo>
                  <a:pt x="335825" y="1606794"/>
                </a:lnTo>
                <a:lnTo>
                  <a:pt x="335675" y="1301220"/>
                </a:lnTo>
                <a:lnTo>
                  <a:pt x="641167" y="1301283"/>
                </a:lnTo>
                <a:lnTo>
                  <a:pt x="939180" y="1003020"/>
                </a:lnTo>
                <a:cubicBezTo>
                  <a:pt x="813277" y="873138"/>
                  <a:pt x="710026" y="724923"/>
                  <a:pt x="632095" y="562116"/>
                </a:cubicBezTo>
                <a:cubicBezTo>
                  <a:pt x="548077" y="386598"/>
                  <a:pt x="496015" y="199174"/>
                  <a:pt x="477362" y="5022"/>
                </a:cubicBezTo>
                <a:lnTo>
                  <a:pt x="529756" y="0"/>
                </a:lnTo>
                <a:cubicBezTo>
                  <a:pt x="565369" y="370586"/>
                  <a:pt x="730548" y="720233"/>
                  <a:pt x="994859" y="984560"/>
                </a:cubicBezTo>
                <a:lnTo>
                  <a:pt x="1013461" y="1003147"/>
                </a:lnTo>
                <a:lnTo>
                  <a:pt x="662974" y="1353930"/>
                </a:lnTo>
                <a:lnTo>
                  <a:pt x="388340" y="1353852"/>
                </a:lnTo>
                <a:lnTo>
                  <a:pt x="388476" y="1628554"/>
                </a:lnTo>
                <a:lnTo>
                  <a:pt x="74512" y="1942781"/>
                </a:lnTo>
                <a:cubicBezTo>
                  <a:pt x="595445" y="2454603"/>
                  <a:pt x="1282384" y="2752945"/>
                  <a:pt x="2011902" y="2783611"/>
                </a:cubicBezTo>
                <a:lnTo>
                  <a:pt x="2009692" y="2836196"/>
                </a:lnTo>
              </a:path>
            </a:pathLst>
          </a:custGeom>
          <a:solidFill>
            <a:srgbClr val="FB900E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1F75766A-DC75-5751-48E8-5B26C8AA627F}"/>
              </a:ext>
            </a:extLst>
          </p:cNvPr>
          <p:cNvSpPr/>
          <p:nvPr/>
        </p:nvSpPr>
        <p:spPr>
          <a:xfrm>
            <a:off x="4675117" y="1300597"/>
            <a:ext cx="1755561" cy="3094283"/>
          </a:xfrm>
          <a:custGeom>
            <a:avLst/>
            <a:gdLst>
              <a:gd name="connsiteX0" fmla="*/ 40410 w 1755561"/>
              <a:gd name="connsiteY0" fmla="*/ 3094284 h 3094283"/>
              <a:gd name="connsiteX1" fmla="*/ 0 w 1755561"/>
              <a:gd name="connsiteY1" fmla="*/ 3060523 h 3094283"/>
              <a:gd name="connsiteX2" fmla="*/ 374755 w 1755561"/>
              <a:gd name="connsiteY2" fmla="*/ 2026899 h 3094283"/>
              <a:gd name="connsiteX3" fmla="*/ 374755 w 1755561"/>
              <a:gd name="connsiteY3" fmla="*/ 2000607 h 3094283"/>
              <a:gd name="connsiteX4" fmla="*/ 870738 w 1755561"/>
              <a:gd name="connsiteY4" fmla="*/ 2000228 h 3094283"/>
              <a:gd name="connsiteX5" fmla="*/ 1064921 w 1755561"/>
              <a:gd name="connsiteY5" fmla="*/ 2194316 h 3094283"/>
              <a:gd name="connsiteX6" fmla="*/ 1259073 w 1755561"/>
              <a:gd name="connsiteY6" fmla="*/ 2000117 h 3094283"/>
              <a:gd name="connsiteX7" fmla="*/ 1702820 w 1755561"/>
              <a:gd name="connsiteY7" fmla="*/ 2000117 h 3094283"/>
              <a:gd name="connsiteX8" fmla="*/ 927444 w 1755561"/>
              <a:gd name="connsiteY8" fmla="*/ 35631 h 3094283"/>
              <a:gd name="connsiteX9" fmla="*/ 966211 w 1755561"/>
              <a:gd name="connsiteY9" fmla="*/ 0 h 3094283"/>
              <a:gd name="connsiteX10" fmla="*/ 1755562 w 1755561"/>
              <a:gd name="connsiteY10" fmla="*/ 2026441 h 3094283"/>
              <a:gd name="connsiteX11" fmla="*/ 1755562 w 1755561"/>
              <a:gd name="connsiteY11" fmla="*/ 2052765 h 3094283"/>
              <a:gd name="connsiteX12" fmla="*/ 1280865 w 1755561"/>
              <a:gd name="connsiteY12" fmla="*/ 2052765 h 3094283"/>
              <a:gd name="connsiteX13" fmla="*/ 1064921 w 1755561"/>
              <a:gd name="connsiteY13" fmla="*/ 2268756 h 3094283"/>
              <a:gd name="connsiteX14" fmla="*/ 848994 w 1755561"/>
              <a:gd name="connsiteY14" fmla="*/ 2052891 h 3094283"/>
              <a:gd name="connsiteX15" fmla="*/ 427213 w 1755561"/>
              <a:gd name="connsiteY15" fmla="*/ 2053207 h 3094283"/>
              <a:gd name="connsiteX16" fmla="*/ 324428 w 1755561"/>
              <a:gd name="connsiteY16" fmla="*/ 2604475 h 3094283"/>
              <a:gd name="connsiteX17" fmla="*/ 40410 w 1755561"/>
              <a:gd name="connsiteY17" fmla="*/ 3094284 h 3094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755561" h="3094283">
                <a:moveTo>
                  <a:pt x="40410" y="3094284"/>
                </a:moveTo>
                <a:lnTo>
                  <a:pt x="0" y="3060523"/>
                </a:lnTo>
                <a:cubicBezTo>
                  <a:pt x="241667" y="2771198"/>
                  <a:pt x="374755" y="2404102"/>
                  <a:pt x="374755" y="2026899"/>
                </a:cubicBezTo>
                <a:lnTo>
                  <a:pt x="374755" y="2000607"/>
                </a:lnTo>
                <a:lnTo>
                  <a:pt x="870738" y="2000228"/>
                </a:lnTo>
                <a:lnTo>
                  <a:pt x="1064921" y="2194316"/>
                </a:lnTo>
                <a:lnTo>
                  <a:pt x="1259073" y="2000117"/>
                </a:lnTo>
                <a:lnTo>
                  <a:pt x="1702820" y="2000117"/>
                </a:lnTo>
                <a:cubicBezTo>
                  <a:pt x="1696408" y="1269857"/>
                  <a:pt x="1421611" y="573135"/>
                  <a:pt x="927444" y="35631"/>
                </a:cubicBezTo>
                <a:lnTo>
                  <a:pt x="966211" y="0"/>
                </a:lnTo>
                <a:cubicBezTo>
                  <a:pt x="1475238" y="553730"/>
                  <a:pt x="1755562" y="1273394"/>
                  <a:pt x="1755562" y="2026441"/>
                </a:cubicBezTo>
                <a:lnTo>
                  <a:pt x="1755562" y="2052765"/>
                </a:lnTo>
                <a:lnTo>
                  <a:pt x="1280865" y="2052765"/>
                </a:lnTo>
                <a:lnTo>
                  <a:pt x="1064921" y="2268756"/>
                </a:lnTo>
                <a:lnTo>
                  <a:pt x="848994" y="2052891"/>
                </a:lnTo>
                <a:lnTo>
                  <a:pt x="427213" y="2053207"/>
                </a:lnTo>
                <a:cubicBezTo>
                  <a:pt x="424276" y="2242606"/>
                  <a:pt x="389756" y="2427930"/>
                  <a:pt x="324428" y="2604475"/>
                </a:cubicBezTo>
                <a:cubicBezTo>
                  <a:pt x="258453" y="2782820"/>
                  <a:pt x="162885" y="2947616"/>
                  <a:pt x="40410" y="3094284"/>
                </a:cubicBezTo>
              </a:path>
            </a:pathLst>
          </a:custGeom>
          <a:solidFill>
            <a:srgbClr val="00DDE0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60D9F5AF-8211-5014-9C6F-7147E2D91EFD}"/>
              </a:ext>
            </a:extLst>
          </p:cNvPr>
          <p:cNvSpPr/>
          <p:nvPr/>
        </p:nvSpPr>
        <p:spPr>
          <a:xfrm>
            <a:off x="441866" y="2267659"/>
            <a:ext cx="1749655" cy="3086895"/>
          </a:xfrm>
          <a:custGeom>
            <a:avLst/>
            <a:gdLst>
              <a:gd name="connsiteX0" fmla="*/ 789389 w 1749655"/>
              <a:gd name="connsiteY0" fmla="*/ 3086895 h 3086895"/>
              <a:gd name="connsiteX1" fmla="*/ 0 w 1749655"/>
              <a:gd name="connsiteY1" fmla="*/ 1060437 h 3086895"/>
              <a:gd name="connsiteX2" fmla="*/ 0 w 1749655"/>
              <a:gd name="connsiteY2" fmla="*/ 1034129 h 3086895"/>
              <a:gd name="connsiteX3" fmla="*/ 474962 w 1749655"/>
              <a:gd name="connsiteY3" fmla="*/ 1033860 h 3086895"/>
              <a:gd name="connsiteX4" fmla="*/ 690931 w 1749655"/>
              <a:gd name="connsiteY4" fmla="*/ 817585 h 3086895"/>
              <a:gd name="connsiteX5" fmla="*/ 906897 w 1749655"/>
              <a:gd name="connsiteY5" fmla="*/ 1033750 h 3086895"/>
              <a:gd name="connsiteX6" fmla="*/ 1328399 w 1749655"/>
              <a:gd name="connsiteY6" fmla="*/ 1033655 h 3086895"/>
              <a:gd name="connsiteX7" fmla="*/ 1429475 w 1749655"/>
              <a:gd name="connsiteY7" fmla="*/ 486998 h 3086895"/>
              <a:gd name="connsiteX8" fmla="*/ 1709057 w 1749655"/>
              <a:gd name="connsiteY8" fmla="*/ 0 h 3086895"/>
              <a:gd name="connsiteX9" fmla="*/ 1749656 w 1749655"/>
              <a:gd name="connsiteY9" fmla="*/ 33509 h 3086895"/>
              <a:gd name="connsiteX10" fmla="*/ 1380835 w 1749655"/>
              <a:gd name="connsiteY10" fmla="*/ 1059963 h 3086895"/>
              <a:gd name="connsiteX11" fmla="*/ 1380835 w 1749655"/>
              <a:gd name="connsiteY11" fmla="*/ 1086287 h 3086895"/>
              <a:gd name="connsiteX12" fmla="*/ 885087 w 1749655"/>
              <a:gd name="connsiteY12" fmla="*/ 1086398 h 3086895"/>
              <a:gd name="connsiteX13" fmla="*/ 690940 w 1749655"/>
              <a:gd name="connsiteY13" fmla="*/ 892072 h 3086895"/>
              <a:gd name="connsiteX14" fmla="*/ 496798 w 1749655"/>
              <a:gd name="connsiteY14" fmla="*/ 1086492 h 3086895"/>
              <a:gd name="connsiteX15" fmla="*/ 52749 w 1749655"/>
              <a:gd name="connsiteY15" fmla="*/ 1086745 h 3086895"/>
              <a:gd name="connsiteX16" fmla="*/ 828138 w 1749655"/>
              <a:gd name="connsiteY16" fmla="*/ 3051271 h 3086895"/>
              <a:gd name="connsiteX17" fmla="*/ 789389 w 1749655"/>
              <a:gd name="connsiteY17" fmla="*/ 3086895 h 3086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749655" h="3086895">
                <a:moveTo>
                  <a:pt x="789389" y="3086895"/>
                </a:moveTo>
                <a:cubicBezTo>
                  <a:pt x="280343" y="2533180"/>
                  <a:pt x="0" y="1813499"/>
                  <a:pt x="0" y="1060437"/>
                </a:cubicBezTo>
                <a:lnTo>
                  <a:pt x="0" y="1034129"/>
                </a:lnTo>
                <a:lnTo>
                  <a:pt x="474962" y="1033860"/>
                </a:lnTo>
                <a:lnTo>
                  <a:pt x="690931" y="817585"/>
                </a:lnTo>
                <a:lnTo>
                  <a:pt x="906897" y="1033750"/>
                </a:lnTo>
                <a:lnTo>
                  <a:pt x="1328399" y="1033655"/>
                </a:lnTo>
                <a:cubicBezTo>
                  <a:pt x="1331307" y="845930"/>
                  <a:pt x="1365273" y="662137"/>
                  <a:pt x="1429475" y="486998"/>
                </a:cubicBezTo>
                <a:cubicBezTo>
                  <a:pt x="1494381" y="309948"/>
                  <a:pt x="1588444" y="146099"/>
                  <a:pt x="1709057" y="0"/>
                </a:cubicBezTo>
                <a:lnTo>
                  <a:pt x="1749656" y="33509"/>
                </a:lnTo>
                <a:cubicBezTo>
                  <a:pt x="1511818" y="321618"/>
                  <a:pt x="1380835" y="686140"/>
                  <a:pt x="1380835" y="1059963"/>
                </a:cubicBezTo>
                <a:lnTo>
                  <a:pt x="1380835" y="1086287"/>
                </a:lnTo>
                <a:lnTo>
                  <a:pt x="885087" y="1086398"/>
                </a:lnTo>
                <a:lnTo>
                  <a:pt x="690940" y="892072"/>
                </a:lnTo>
                <a:lnTo>
                  <a:pt x="496798" y="1086492"/>
                </a:lnTo>
                <a:lnTo>
                  <a:pt x="52749" y="1086745"/>
                </a:lnTo>
                <a:cubicBezTo>
                  <a:pt x="59188" y="1817021"/>
                  <a:pt x="333966" y="2513725"/>
                  <a:pt x="828138" y="3051271"/>
                </a:cubicBezTo>
                <a:lnTo>
                  <a:pt x="789389" y="3086895"/>
                </a:lnTo>
              </a:path>
            </a:pathLst>
          </a:custGeom>
          <a:solidFill>
            <a:srgbClr val="70AD47"/>
          </a:solidFill>
          <a:ln w="467" cap="flat">
            <a:solidFill>
              <a:srgbClr val="70AD47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6268EA6-9C7C-DBB3-E89F-817D45EFA995}"/>
              </a:ext>
            </a:extLst>
          </p:cNvPr>
          <p:cNvSpPr/>
          <p:nvPr/>
        </p:nvSpPr>
        <p:spPr>
          <a:xfrm>
            <a:off x="3622212" y="3451266"/>
            <a:ext cx="2806555" cy="2011914"/>
          </a:xfrm>
          <a:custGeom>
            <a:avLst/>
            <a:gdLst>
              <a:gd name="connsiteX0" fmla="*/ 1913205 w 2806555"/>
              <a:gd name="connsiteY0" fmla="*/ 2011915 h 2011914"/>
              <a:gd name="connsiteX1" fmla="*/ 1577375 w 2806555"/>
              <a:gd name="connsiteY1" fmla="*/ 1676069 h 2011914"/>
              <a:gd name="connsiteX2" fmla="*/ 1271943 w 2806555"/>
              <a:gd name="connsiteY2" fmla="*/ 1676085 h 2011914"/>
              <a:gd name="connsiteX3" fmla="*/ 1271896 w 2806555"/>
              <a:gd name="connsiteY3" fmla="*/ 1370748 h 2011914"/>
              <a:gd name="connsiteX4" fmla="*/ 973333 w 2806555"/>
              <a:gd name="connsiteY4" fmla="*/ 1072659 h 2011914"/>
              <a:gd name="connsiteX5" fmla="*/ 545725 w 2806555"/>
              <a:gd name="connsiteY5" fmla="*/ 1373354 h 2011914"/>
              <a:gd name="connsiteX6" fmla="*/ 6001 w 2806555"/>
              <a:gd name="connsiteY6" fmla="*/ 1531312 h 2011914"/>
              <a:gd name="connsiteX7" fmla="*/ 0 w 2806555"/>
              <a:gd name="connsiteY7" fmla="*/ 1479028 h 2011914"/>
              <a:gd name="connsiteX8" fmla="*/ 954841 w 2806555"/>
              <a:gd name="connsiteY8" fmla="*/ 1016979 h 2011914"/>
              <a:gd name="connsiteX9" fmla="*/ 973428 w 2806555"/>
              <a:gd name="connsiteY9" fmla="*/ 998394 h 2011914"/>
              <a:gd name="connsiteX10" fmla="*/ 1324496 w 2806555"/>
              <a:gd name="connsiteY10" fmla="*/ 1348909 h 2011914"/>
              <a:gd name="connsiteX11" fmla="*/ 1324591 w 2806555"/>
              <a:gd name="connsiteY11" fmla="*/ 1623453 h 2011914"/>
              <a:gd name="connsiteX12" fmla="*/ 1599166 w 2806555"/>
              <a:gd name="connsiteY12" fmla="*/ 1623422 h 2011914"/>
              <a:gd name="connsiteX13" fmla="*/ 1913110 w 2806555"/>
              <a:gd name="connsiteY13" fmla="*/ 1937397 h 2011914"/>
              <a:gd name="connsiteX14" fmla="*/ 2753955 w 2806555"/>
              <a:gd name="connsiteY14" fmla="*/ 0 h 2011914"/>
              <a:gd name="connsiteX15" fmla="*/ 2806556 w 2806555"/>
              <a:gd name="connsiteY15" fmla="*/ 2211 h 2011914"/>
              <a:gd name="connsiteX16" fmla="*/ 1931822 w 2806555"/>
              <a:gd name="connsiteY16" fmla="*/ 1993297 h 2011914"/>
              <a:gd name="connsiteX17" fmla="*/ 1913205 w 2806555"/>
              <a:gd name="connsiteY17" fmla="*/ 2011915 h 2011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806555" h="2011914">
                <a:moveTo>
                  <a:pt x="1913205" y="2011915"/>
                </a:moveTo>
                <a:lnTo>
                  <a:pt x="1577375" y="1676069"/>
                </a:lnTo>
                <a:lnTo>
                  <a:pt x="1271943" y="1676085"/>
                </a:lnTo>
                <a:lnTo>
                  <a:pt x="1271896" y="1370748"/>
                </a:lnTo>
                <a:lnTo>
                  <a:pt x="973333" y="1072659"/>
                </a:lnTo>
                <a:cubicBezTo>
                  <a:pt x="847035" y="1195088"/>
                  <a:pt x="703305" y="1296167"/>
                  <a:pt x="545725" y="1373354"/>
                </a:cubicBezTo>
                <a:cubicBezTo>
                  <a:pt x="375797" y="1456589"/>
                  <a:pt x="194215" y="1509726"/>
                  <a:pt x="6001" y="1531312"/>
                </a:cubicBezTo>
                <a:lnTo>
                  <a:pt x="0" y="1479028"/>
                </a:lnTo>
                <a:cubicBezTo>
                  <a:pt x="358980" y="1437844"/>
                  <a:pt x="698078" y="1273743"/>
                  <a:pt x="954841" y="1016979"/>
                </a:cubicBezTo>
                <a:lnTo>
                  <a:pt x="973428" y="998394"/>
                </a:lnTo>
                <a:lnTo>
                  <a:pt x="1324496" y="1348909"/>
                </a:lnTo>
                <a:lnTo>
                  <a:pt x="1324591" y="1623453"/>
                </a:lnTo>
                <a:lnTo>
                  <a:pt x="1599166" y="1623422"/>
                </a:lnTo>
                <a:lnTo>
                  <a:pt x="1913110" y="1937397"/>
                </a:lnTo>
                <a:cubicBezTo>
                  <a:pt x="2424947" y="1416464"/>
                  <a:pt x="2723321" y="729518"/>
                  <a:pt x="2753955" y="0"/>
                </a:cubicBezTo>
                <a:lnTo>
                  <a:pt x="2806556" y="2211"/>
                </a:lnTo>
                <a:cubicBezTo>
                  <a:pt x="2774989" y="753694"/>
                  <a:pt x="2464315" y="1460821"/>
                  <a:pt x="1931822" y="1993297"/>
                </a:cubicBezTo>
                <a:lnTo>
                  <a:pt x="1913205" y="2011915"/>
                </a:lnTo>
              </a:path>
            </a:pathLst>
          </a:custGeom>
          <a:solidFill>
            <a:srgbClr val="0E6B77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-form: Shape 28">
            <a:extLst>
              <a:ext uri="{FF2B5EF4-FFF2-40B4-BE49-F238E27FC236}">
                <a16:creationId xmlns:a16="http://schemas.microsoft.com/office/drawing/2014/main" id="{9DF427B7-7C54-C4C0-5DA9-69CA5338D0F4}"/>
              </a:ext>
            </a:extLst>
          </p:cNvPr>
          <p:cNvSpPr/>
          <p:nvPr/>
        </p:nvSpPr>
        <p:spPr>
          <a:xfrm>
            <a:off x="443804" y="1191974"/>
            <a:ext cx="2847111" cy="2011892"/>
          </a:xfrm>
          <a:custGeom>
            <a:avLst/>
            <a:gdLst>
              <a:gd name="connsiteX0" fmla="*/ 52592 w 2847111"/>
              <a:gd name="connsiteY0" fmla="*/ 2011893 h 2011892"/>
              <a:gd name="connsiteX1" fmla="*/ 0 w 2847111"/>
              <a:gd name="connsiteY1" fmla="*/ 2009682 h 2011892"/>
              <a:gd name="connsiteX2" fmla="*/ 874733 w 2847111"/>
              <a:gd name="connsiteY2" fmla="*/ 18610 h 2011892"/>
              <a:gd name="connsiteX3" fmla="*/ 893333 w 2847111"/>
              <a:gd name="connsiteY3" fmla="*/ 0 h 2011892"/>
              <a:gd name="connsiteX4" fmla="*/ 1229223 w 2847111"/>
              <a:gd name="connsiteY4" fmla="*/ 335501 h 2011892"/>
              <a:gd name="connsiteX5" fmla="*/ 1532764 w 2847111"/>
              <a:gd name="connsiteY5" fmla="*/ 335267 h 2011892"/>
              <a:gd name="connsiteX6" fmla="*/ 1534729 w 2847111"/>
              <a:gd name="connsiteY6" fmla="*/ 640843 h 2011892"/>
              <a:gd name="connsiteX7" fmla="*/ 1833132 w 2847111"/>
              <a:gd name="connsiteY7" fmla="*/ 939218 h 2011892"/>
              <a:gd name="connsiteX8" fmla="*/ 2278931 w 2847111"/>
              <a:gd name="connsiteY8" fmla="*/ 629761 h 2011892"/>
              <a:gd name="connsiteX9" fmla="*/ 2842421 w 2847111"/>
              <a:gd name="connsiteY9" fmla="*/ 476295 h 2011892"/>
              <a:gd name="connsiteX10" fmla="*/ 2847111 w 2847111"/>
              <a:gd name="connsiteY10" fmla="*/ 528712 h 2011892"/>
              <a:gd name="connsiteX11" fmla="*/ 1851608 w 2847111"/>
              <a:gd name="connsiteY11" fmla="*/ 994897 h 2011892"/>
              <a:gd name="connsiteX12" fmla="*/ 1833021 w 2847111"/>
              <a:gd name="connsiteY12" fmla="*/ 1013515 h 2011892"/>
              <a:gd name="connsiteX13" fmla="*/ 1482081 w 2847111"/>
              <a:gd name="connsiteY13" fmla="*/ 662633 h 2011892"/>
              <a:gd name="connsiteX14" fmla="*/ 1480099 w 2847111"/>
              <a:gd name="connsiteY14" fmla="*/ 387966 h 2011892"/>
              <a:gd name="connsiteX15" fmla="*/ 1207451 w 2847111"/>
              <a:gd name="connsiteY15" fmla="*/ 388152 h 2011892"/>
              <a:gd name="connsiteX16" fmla="*/ 893437 w 2847111"/>
              <a:gd name="connsiteY16" fmla="*/ 74488 h 2011892"/>
              <a:gd name="connsiteX17" fmla="*/ 52592 w 2847111"/>
              <a:gd name="connsiteY17" fmla="*/ 2011893 h 2011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847111" h="2011892">
                <a:moveTo>
                  <a:pt x="52592" y="2011893"/>
                </a:moveTo>
                <a:lnTo>
                  <a:pt x="0" y="2009682"/>
                </a:lnTo>
                <a:cubicBezTo>
                  <a:pt x="31588" y="1258198"/>
                  <a:pt x="342242" y="551064"/>
                  <a:pt x="874733" y="18610"/>
                </a:cubicBezTo>
                <a:lnTo>
                  <a:pt x="893333" y="0"/>
                </a:lnTo>
                <a:lnTo>
                  <a:pt x="1229223" y="335501"/>
                </a:lnTo>
                <a:lnTo>
                  <a:pt x="1532764" y="335267"/>
                </a:lnTo>
                <a:lnTo>
                  <a:pt x="1534729" y="640843"/>
                </a:lnTo>
                <a:lnTo>
                  <a:pt x="1833132" y="939218"/>
                </a:lnTo>
                <a:cubicBezTo>
                  <a:pt x="1964356" y="812004"/>
                  <a:pt x="2114198" y="707943"/>
                  <a:pt x="2278931" y="629761"/>
                </a:cubicBezTo>
                <a:cubicBezTo>
                  <a:pt x="2456502" y="545452"/>
                  <a:pt x="2646106" y="493829"/>
                  <a:pt x="2842421" y="476295"/>
                </a:cubicBezTo>
                <a:lnTo>
                  <a:pt x="2847111" y="528712"/>
                </a:lnTo>
                <a:cubicBezTo>
                  <a:pt x="2472262" y="562192"/>
                  <a:pt x="2118699" y="727759"/>
                  <a:pt x="1851608" y="994897"/>
                </a:cubicBezTo>
                <a:lnTo>
                  <a:pt x="1833021" y="1013515"/>
                </a:lnTo>
                <a:lnTo>
                  <a:pt x="1482081" y="662633"/>
                </a:lnTo>
                <a:lnTo>
                  <a:pt x="1480099" y="387966"/>
                </a:lnTo>
                <a:lnTo>
                  <a:pt x="1207451" y="388152"/>
                </a:lnTo>
                <a:lnTo>
                  <a:pt x="893437" y="74488"/>
                </a:lnTo>
                <a:cubicBezTo>
                  <a:pt x="381604" y="595439"/>
                  <a:pt x="83257" y="1282359"/>
                  <a:pt x="52592" y="2011893"/>
                </a:cubicBezTo>
              </a:path>
            </a:pathLst>
          </a:custGeom>
          <a:solidFill>
            <a:srgbClr val="DE3232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-form: Shape 29">
            <a:extLst>
              <a:ext uri="{FF2B5EF4-FFF2-40B4-BE49-F238E27FC236}">
                <a16:creationId xmlns:a16="http://schemas.microsoft.com/office/drawing/2014/main" id="{4FC236B7-E923-F52B-4899-00CE01067C42}"/>
              </a:ext>
            </a:extLst>
          </p:cNvPr>
          <p:cNvSpPr/>
          <p:nvPr/>
        </p:nvSpPr>
        <p:spPr>
          <a:xfrm flipV="1">
            <a:off x="2368535" y="4566032"/>
            <a:ext cx="1094428" cy="1219244"/>
          </a:xfrm>
          <a:custGeom>
            <a:avLst/>
            <a:gdLst>
              <a:gd name="connsiteX0" fmla="*/ 1045010 w 1094428"/>
              <a:gd name="connsiteY0" fmla="*/ 33 h 1219244"/>
              <a:gd name="connsiteX1" fmla="*/ 967108 w 1094428"/>
              <a:gd name="connsiteY1" fmla="*/ 4709 h 1219244"/>
              <a:gd name="connsiteX2" fmla="*/ 821451 w 1094428"/>
              <a:gd name="connsiteY2" fmla="*/ 154664 h 1219244"/>
              <a:gd name="connsiteX3" fmla="*/ 1037136 w 1094428"/>
              <a:gd name="connsiteY3" fmla="*/ 370348 h 1219244"/>
              <a:gd name="connsiteX4" fmla="*/ 1036860 w 1094428"/>
              <a:gd name="connsiteY4" fmla="*/ 792496 h 1219244"/>
              <a:gd name="connsiteX5" fmla="*/ 485332 w 1094428"/>
              <a:gd name="connsiteY5" fmla="*/ 894971 h 1219244"/>
              <a:gd name="connsiteX6" fmla="*/ -4655 w 1094428"/>
              <a:gd name="connsiteY6" fmla="*/ 1178897 h 1219244"/>
              <a:gd name="connsiteX7" fmla="*/ 29115 w 1094428"/>
              <a:gd name="connsiteY7" fmla="*/ 1219278 h 1219244"/>
              <a:gd name="connsiteX8" fmla="*/ 1063163 w 1094428"/>
              <a:gd name="connsiteY8" fmla="*/ 844947 h 1219244"/>
              <a:gd name="connsiteX9" fmla="*/ 1089460 w 1094428"/>
              <a:gd name="connsiteY9" fmla="*/ 844947 h 1219244"/>
              <a:gd name="connsiteX10" fmla="*/ 1089774 w 1094428"/>
              <a:gd name="connsiteY10" fmla="*/ 348558 h 1219244"/>
              <a:gd name="connsiteX11" fmla="*/ 895356 w 1094428"/>
              <a:gd name="connsiteY11" fmla="*/ 154112 h 1219244"/>
              <a:gd name="connsiteX12" fmla="*/ 1045010 w 1094428"/>
              <a:gd name="connsiteY12" fmla="*/ 33 h 121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428" h="1219244">
                <a:moveTo>
                  <a:pt x="1045010" y="33"/>
                </a:moveTo>
                <a:cubicBezTo>
                  <a:pt x="1018904" y="1170"/>
                  <a:pt x="992985" y="2708"/>
                  <a:pt x="967108" y="4709"/>
                </a:cubicBezTo>
                <a:lnTo>
                  <a:pt x="821451" y="154664"/>
                </a:lnTo>
                <a:lnTo>
                  <a:pt x="1037136" y="370348"/>
                </a:lnTo>
                <a:lnTo>
                  <a:pt x="1036860" y="792496"/>
                </a:lnTo>
                <a:cubicBezTo>
                  <a:pt x="847202" y="795423"/>
                  <a:pt x="661790" y="829848"/>
                  <a:pt x="485332" y="894971"/>
                </a:cubicBezTo>
                <a:cubicBezTo>
                  <a:pt x="306766" y="960874"/>
                  <a:pt x="141904" y="1056400"/>
                  <a:pt x="-4655" y="1178897"/>
                </a:cubicBezTo>
                <a:lnTo>
                  <a:pt x="29115" y="1219278"/>
                </a:lnTo>
                <a:cubicBezTo>
                  <a:pt x="317923" y="977885"/>
                  <a:pt x="685161" y="844947"/>
                  <a:pt x="1063163" y="844947"/>
                </a:cubicBezTo>
                <a:lnTo>
                  <a:pt x="1089460" y="844947"/>
                </a:lnTo>
                <a:lnTo>
                  <a:pt x="1089774" y="348558"/>
                </a:lnTo>
                <a:lnTo>
                  <a:pt x="895356" y="154112"/>
                </a:lnTo>
                <a:lnTo>
                  <a:pt x="1045010" y="33"/>
                </a:lnTo>
              </a:path>
            </a:pathLst>
          </a:custGeom>
          <a:solidFill>
            <a:srgbClr val="9D2F9D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A14E857C-8F12-BE64-5CE6-68CAFBE4360C}"/>
              </a:ext>
            </a:extLst>
          </p:cNvPr>
          <p:cNvSpPr/>
          <p:nvPr/>
        </p:nvSpPr>
        <p:spPr>
          <a:xfrm flipV="1">
            <a:off x="4558426" y="1816917"/>
            <a:ext cx="599648" cy="1356503"/>
          </a:xfrm>
          <a:custGeom>
            <a:avLst/>
            <a:gdLst>
              <a:gd name="connsiteX0" fmla="*/ 476338 w 599648"/>
              <a:gd name="connsiteY0" fmla="*/ -7396 h 1356503"/>
              <a:gd name="connsiteX1" fmla="*/ 11036 w 599648"/>
              <a:gd name="connsiteY1" fmla="*/ 979298 h 1356503"/>
              <a:gd name="connsiteX2" fmla="*/ -7579 w 599648"/>
              <a:gd name="connsiteY2" fmla="*/ 997889 h 1356503"/>
              <a:gd name="connsiteX3" fmla="*/ 343260 w 599648"/>
              <a:gd name="connsiteY3" fmla="*/ 1349107 h 1356503"/>
              <a:gd name="connsiteX4" fmla="*/ 538483 w 599648"/>
              <a:gd name="connsiteY4" fmla="*/ 1349107 h 1356503"/>
              <a:gd name="connsiteX5" fmla="*/ 592069 w 599648"/>
              <a:gd name="connsiteY5" fmla="*/ 1296456 h 1356503"/>
              <a:gd name="connsiteX6" fmla="*/ 365050 w 599648"/>
              <a:gd name="connsiteY6" fmla="*/ 1296456 h 1356503"/>
              <a:gd name="connsiteX7" fmla="*/ 66703 w 599648"/>
              <a:gd name="connsiteY7" fmla="*/ 997758 h 1356503"/>
              <a:gd name="connsiteX8" fmla="*/ 374262 w 599648"/>
              <a:gd name="connsiteY8" fmla="*/ 555905 h 1356503"/>
              <a:gd name="connsiteX9" fmla="*/ 528710 w 599648"/>
              <a:gd name="connsiteY9" fmla="*/ -2431 h 1356503"/>
              <a:gd name="connsiteX10" fmla="*/ 476338 w 599648"/>
              <a:gd name="connsiteY10" fmla="*/ -7396 h 135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9648" h="1356503">
                <a:moveTo>
                  <a:pt x="476338" y="-7396"/>
                </a:moveTo>
                <a:cubicBezTo>
                  <a:pt x="441128" y="364008"/>
                  <a:pt x="275879" y="714426"/>
                  <a:pt x="11036" y="979298"/>
                </a:cubicBezTo>
                <a:lnTo>
                  <a:pt x="-7579" y="997889"/>
                </a:lnTo>
                <a:lnTo>
                  <a:pt x="343260" y="1349107"/>
                </a:lnTo>
                <a:lnTo>
                  <a:pt x="538483" y="1349107"/>
                </a:lnTo>
                <a:cubicBezTo>
                  <a:pt x="556625" y="1331853"/>
                  <a:pt x="574488" y="1314271"/>
                  <a:pt x="592069" y="1296456"/>
                </a:cubicBezTo>
                <a:lnTo>
                  <a:pt x="365050" y="1296456"/>
                </a:lnTo>
                <a:lnTo>
                  <a:pt x="66703" y="997758"/>
                </a:lnTo>
                <a:cubicBezTo>
                  <a:pt x="192881" y="867621"/>
                  <a:pt x="296266" y="719079"/>
                  <a:pt x="374262" y="555905"/>
                </a:cubicBezTo>
                <a:cubicBezTo>
                  <a:pt x="458336" y="379972"/>
                  <a:pt x="510286" y="192118"/>
                  <a:pt x="528710" y="-2431"/>
                </a:cubicBezTo>
                <a:lnTo>
                  <a:pt x="476338" y="-7396"/>
                </a:lnTo>
              </a:path>
            </a:pathLst>
          </a:custGeom>
          <a:solidFill>
            <a:srgbClr val="9DB4C0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e-form: Shape 31">
            <a:extLst>
              <a:ext uri="{FF2B5EF4-FFF2-40B4-BE49-F238E27FC236}">
                <a16:creationId xmlns:a16="http://schemas.microsoft.com/office/drawing/2014/main" id="{5448B934-D294-44CA-31DE-EA51C2855130}"/>
              </a:ext>
            </a:extLst>
          </p:cNvPr>
          <p:cNvSpPr/>
          <p:nvPr/>
        </p:nvSpPr>
        <p:spPr>
          <a:xfrm flipV="1">
            <a:off x="4675116" y="3300822"/>
            <a:ext cx="1145499" cy="1094054"/>
          </a:xfrm>
          <a:custGeom>
            <a:avLst/>
            <a:gdLst>
              <a:gd name="connsiteX0" fmla="*/ 32258 w 1145499"/>
              <a:gd name="connsiteY0" fmla="*/ -3647 h 1094054"/>
              <a:gd name="connsiteX1" fmla="*/ -8166 w 1145499"/>
              <a:gd name="connsiteY1" fmla="*/ 30104 h 1094054"/>
              <a:gd name="connsiteX2" fmla="*/ 366591 w 1145499"/>
              <a:gd name="connsiteY2" fmla="*/ 1063731 h 1094054"/>
              <a:gd name="connsiteX3" fmla="*/ 366591 w 1145499"/>
              <a:gd name="connsiteY3" fmla="*/ 1090024 h 1094054"/>
              <a:gd name="connsiteX4" fmla="*/ 862573 w 1145499"/>
              <a:gd name="connsiteY4" fmla="*/ 1090408 h 1094054"/>
              <a:gd name="connsiteX5" fmla="*/ 1056767 w 1145499"/>
              <a:gd name="connsiteY5" fmla="*/ 896321 h 1094054"/>
              <a:gd name="connsiteX6" fmla="*/ 1136305 w 1145499"/>
              <a:gd name="connsiteY6" fmla="*/ 975888 h 1094054"/>
              <a:gd name="connsiteX7" fmla="*/ 1137334 w 1145499"/>
              <a:gd name="connsiteY7" fmla="*/ 905711 h 1094054"/>
              <a:gd name="connsiteX8" fmla="*/ 1137334 w 1145499"/>
              <a:gd name="connsiteY8" fmla="*/ 902489 h 1094054"/>
              <a:gd name="connsiteX9" fmla="*/ 1056767 w 1145499"/>
              <a:gd name="connsiteY9" fmla="*/ 821870 h 1094054"/>
              <a:gd name="connsiteX10" fmla="*/ 840830 w 1145499"/>
              <a:gd name="connsiteY10" fmla="*/ 1037747 h 1094054"/>
              <a:gd name="connsiteX11" fmla="*/ 419056 w 1145499"/>
              <a:gd name="connsiteY11" fmla="*/ 1037433 h 1094054"/>
              <a:gd name="connsiteX12" fmla="*/ 316278 w 1145499"/>
              <a:gd name="connsiteY12" fmla="*/ 486153 h 1094054"/>
              <a:gd name="connsiteX13" fmla="*/ 32258 w 1145499"/>
              <a:gd name="connsiteY13" fmla="*/ -3647 h 1094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45499" h="1094054">
                <a:moveTo>
                  <a:pt x="32258" y="-3647"/>
                </a:moveTo>
                <a:lnTo>
                  <a:pt x="-8166" y="30104"/>
                </a:lnTo>
                <a:cubicBezTo>
                  <a:pt x="233513" y="319440"/>
                  <a:pt x="366591" y="686529"/>
                  <a:pt x="366591" y="1063731"/>
                </a:cubicBezTo>
                <a:lnTo>
                  <a:pt x="366591" y="1090024"/>
                </a:lnTo>
                <a:lnTo>
                  <a:pt x="862573" y="1090408"/>
                </a:lnTo>
                <a:lnTo>
                  <a:pt x="1056767" y="896321"/>
                </a:lnTo>
                <a:lnTo>
                  <a:pt x="1136305" y="975888"/>
                </a:lnTo>
                <a:cubicBezTo>
                  <a:pt x="1137007" y="952536"/>
                  <a:pt x="1137334" y="929231"/>
                  <a:pt x="1137334" y="905711"/>
                </a:cubicBezTo>
                <a:cubicBezTo>
                  <a:pt x="1137334" y="904640"/>
                  <a:pt x="1137334" y="903588"/>
                  <a:pt x="1137334" y="902489"/>
                </a:cubicBezTo>
                <a:lnTo>
                  <a:pt x="1056767" y="821870"/>
                </a:lnTo>
                <a:lnTo>
                  <a:pt x="840830" y="1037747"/>
                </a:lnTo>
                <a:lnTo>
                  <a:pt x="419056" y="1037433"/>
                </a:lnTo>
                <a:cubicBezTo>
                  <a:pt x="416110" y="848023"/>
                  <a:pt x="381601" y="662700"/>
                  <a:pt x="316278" y="486153"/>
                </a:cubicBezTo>
                <a:cubicBezTo>
                  <a:pt x="250300" y="307816"/>
                  <a:pt x="154722" y="143020"/>
                  <a:pt x="32258" y="-3647"/>
                </a:cubicBezTo>
              </a:path>
            </a:pathLst>
          </a:custGeom>
          <a:solidFill>
            <a:srgbClr val="00DDE0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Free-form: Shape 32">
            <a:extLst>
              <a:ext uri="{FF2B5EF4-FFF2-40B4-BE49-F238E27FC236}">
                <a16:creationId xmlns:a16="http://schemas.microsoft.com/office/drawing/2014/main" id="{E9D7F280-304D-852A-5A4A-898C1D5DED2F}"/>
              </a:ext>
            </a:extLst>
          </p:cNvPr>
          <p:cNvSpPr/>
          <p:nvPr/>
        </p:nvSpPr>
        <p:spPr>
          <a:xfrm flipV="1">
            <a:off x="1228179" y="2267663"/>
            <a:ext cx="963346" cy="1086390"/>
          </a:xfrm>
          <a:custGeom>
            <a:avLst/>
            <a:gdLst>
              <a:gd name="connsiteX0" fmla="*/ 95936 w 963346"/>
              <a:gd name="connsiteY0" fmla="*/ -6521 h 1086390"/>
              <a:gd name="connsiteX1" fmla="*/ -2840 w 963346"/>
              <a:gd name="connsiteY1" fmla="*/ 92334 h 1086390"/>
              <a:gd name="connsiteX2" fmla="*/ 4787 w 963346"/>
              <a:gd name="connsiteY2" fmla="*/ 159182 h 1086390"/>
              <a:gd name="connsiteX3" fmla="*/ 117745 w 963346"/>
              <a:gd name="connsiteY3" fmla="*/ 46121 h 1086390"/>
              <a:gd name="connsiteX4" fmla="*/ 539247 w 963346"/>
              <a:gd name="connsiteY4" fmla="*/ 46224 h 1086390"/>
              <a:gd name="connsiteX5" fmla="*/ 640323 w 963346"/>
              <a:gd name="connsiteY5" fmla="*/ 592870 h 1086390"/>
              <a:gd name="connsiteX6" fmla="*/ 919910 w 963346"/>
              <a:gd name="connsiteY6" fmla="*/ 1079869 h 1086390"/>
              <a:gd name="connsiteX7" fmla="*/ 960507 w 963346"/>
              <a:gd name="connsiteY7" fmla="*/ 1046371 h 1086390"/>
              <a:gd name="connsiteX8" fmla="*/ 591684 w 963346"/>
              <a:gd name="connsiteY8" fmla="*/ 19907 h 1086390"/>
              <a:gd name="connsiteX9" fmla="*/ 591684 w 963346"/>
              <a:gd name="connsiteY9" fmla="*/ -6414 h 1086390"/>
              <a:gd name="connsiteX10" fmla="*/ 95936 w 963346"/>
              <a:gd name="connsiteY10" fmla="*/ -6521 h 1086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63346" h="1086390">
                <a:moveTo>
                  <a:pt x="95936" y="-6521"/>
                </a:moveTo>
                <a:lnTo>
                  <a:pt x="-2840" y="92334"/>
                </a:lnTo>
                <a:cubicBezTo>
                  <a:pt x="-614" y="114713"/>
                  <a:pt x="1925" y="136989"/>
                  <a:pt x="4787" y="159182"/>
                </a:cubicBezTo>
                <a:lnTo>
                  <a:pt x="117745" y="46121"/>
                </a:lnTo>
                <a:lnTo>
                  <a:pt x="539247" y="46224"/>
                </a:lnTo>
                <a:cubicBezTo>
                  <a:pt x="542156" y="233951"/>
                  <a:pt x="576122" y="417736"/>
                  <a:pt x="640323" y="592870"/>
                </a:cubicBezTo>
                <a:cubicBezTo>
                  <a:pt x="705231" y="769922"/>
                  <a:pt x="799293" y="933773"/>
                  <a:pt x="919910" y="1079869"/>
                </a:cubicBezTo>
                <a:lnTo>
                  <a:pt x="960507" y="1046371"/>
                </a:lnTo>
                <a:cubicBezTo>
                  <a:pt x="722668" y="758255"/>
                  <a:pt x="591684" y="393734"/>
                  <a:pt x="591684" y="19907"/>
                </a:cubicBezTo>
                <a:lnTo>
                  <a:pt x="591684" y="-6414"/>
                </a:lnTo>
                <a:lnTo>
                  <a:pt x="95936" y="-6521"/>
                </a:lnTo>
              </a:path>
            </a:pathLst>
          </a:custGeom>
          <a:solidFill>
            <a:srgbClr val="70AD47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2B0C2F9A-3172-2409-CD5F-BCC05AEBE83B}"/>
              </a:ext>
            </a:extLst>
          </p:cNvPr>
          <p:cNvSpPr/>
          <p:nvPr/>
        </p:nvSpPr>
        <p:spPr>
          <a:xfrm flipV="1">
            <a:off x="3622223" y="4449661"/>
            <a:ext cx="1561802" cy="677690"/>
          </a:xfrm>
          <a:custGeom>
            <a:avLst/>
            <a:gdLst>
              <a:gd name="connsiteX0" fmla="*/ 1265045 w 1561802"/>
              <a:gd name="connsiteY0" fmla="*/ -1040 h 677690"/>
              <a:gd name="connsiteX1" fmla="*/ 1264998 w 1561802"/>
              <a:gd name="connsiteY1" fmla="*/ 304293 h 677690"/>
              <a:gd name="connsiteX2" fmla="*/ 966431 w 1561802"/>
              <a:gd name="connsiteY2" fmla="*/ 602392 h 677690"/>
              <a:gd name="connsiteX3" fmla="*/ 538827 w 1561802"/>
              <a:gd name="connsiteY3" fmla="*/ 301684 h 677690"/>
              <a:gd name="connsiteX4" fmla="*/ -895 w 1561802"/>
              <a:gd name="connsiteY4" fmla="*/ 143729 h 677690"/>
              <a:gd name="connsiteX5" fmla="*/ -6894 w 1561802"/>
              <a:gd name="connsiteY5" fmla="*/ 196011 h 677690"/>
              <a:gd name="connsiteX6" fmla="*/ 947943 w 1561802"/>
              <a:gd name="connsiteY6" fmla="*/ 658060 h 677690"/>
              <a:gd name="connsiteX7" fmla="*/ 966534 w 1561802"/>
              <a:gd name="connsiteY7" fmla="*/ 676651 h 677690"/>
              <a:gd name="connsiteX8" fmla="*/ 1317603 w 1561802"/>
              <a:gd name="connsiteY8" fmla="*/ 326130 h 677690"/>
              <a:gd name="connsiteX9" fmla="*/ 1317696 w 1561802"/>
              <a:gd name="connsiteY9" fmla="*/ 51593 h 677690"/>
              <a:gd name="connsiteX10" fmla="*/ 1554909 w 1561802"/>
              <a:gd name="connsiteY10" fmla="*/ 51593 h 677690"/>
              <a:gd name="connsiteX11" fmla="*/ 1503053 w 1561802"/>
              <a:gd name="connsiteY11" fmla="*/ -1040 h 677690"/>
              <a:gd name="connsiteX12" fmla="*/ 1265045 w 1561802"/>
              <a:gd name="connsiteY12" fmla="*/ -1040 h 677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61802" h="677690">
                <a:moveTo>
                  <a:pt x="1265045" y="-1040"/>
                </a:moveTo>
                <a:lnTo>
                  <a:pt x="1264998" y="304293"/>
                </a:lnTo>
                <a:lnTo>
                  <a:pt x="966431" y="602392"/>
                </a:lnTo>
                <a:cubicBezTo>
                  <a:pt x="840142" y="479956"/>
                  <a:pt x="696403" y="378870"/>
                  <a:pt x="538827" y="301684"/>
                </a:cubicBezTo>
                <a:cubicBezTo>
                  <a:pt x="368892" y="218456"/>
                  <a:pt x="187314" y="165313"/>
                  <a:pt x="-895" y="143729"/>
                </a:cubicBezTo>
                <a:lnTo>
                  <a:pt x="-6894" y="196011"/>
                </a:lnTo>
                <a:cubicBezTo>
                  <a:pt x="352072" y="237193"/>
                  <a:pt x="691180" y="401296"/>
                  <a:pt x="947943" y="658060"/>
                </a:cubicBezTo>
                <a:lnTo>
                  <a:pt x="966534" y="676651"/>
                </a:lnTo>
                <a:lnTo>
                  <a:pt x="1317603" y="326130"/>
                </a:lnTo>
                <a:lnTo>
                  <a:pt x="1317696" y="51593"/>
                </a:lnTo>
                <a:lnTo>
                  <a:pt x="1554909" y="51593"/>
                </a:lnTo>
                <a:cubicBezTo>
                  <a:pt x="1537889" y="33764"/>
                  <a:pt x="1520634" y="16266"/>
                  <a:pt x="1503053" y="-1040"/>
                </a:cubicBezTo>
                <a:lnTo>
                  <a:pt x="1265045" y="-1040"/>
                </a:lnTo>
              </a:path>
            </a:pathLst>
          </a:custGeom>
          <a:solidFill>
            <a:srgbClr val="0E6B77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802224F5-11E7-E3B8-F442-96DA2FEB13CD}"/>
              </a:ext>
            </a:extLst>
          </p:cNvPr>
          <p:cNvSpPr/>
          <p:nvPr/>
        </p:nvSpPr>
        <p:spPr>
          <a:xfrm flipV="1">
            <a:off x="1925663" y="1668267"/>
            <a:ext cx="1365261" cy="537219"/>
          </a:xfrm>
          <a:custGeom>
            <a:avLst/>
            <a:gdLst>
              <a:gd name="connsiteX0" fmla="*/ 346965 w 1365261"/>
              <a:gd name="connsiteY0" fmla="*/ -8944 h 537219"/>
              <a:gd name="connsiteX1" fmla="*/ -3968 w 1365261"/>
              <a:gd name="connsiteY1" fmla="*/ 341937 h 537219"/>
              <a:gd name="connsiteX2" fmla="*/ -4192 w 1365261"/>
              <a:gd name="connsiteY2" fmla="*/ 372659 h 537219"/>
              <a:gd name="connsiteX3" fmla="*/ 48310 w 1365261"/>
              <a:gd name="connsiteY3" fmla="*/ 421476 h 537219"/>
              <a:gd name="connsiteX4" fmla="*/ 48679 w 1365261"/>
              <a:gd name="connsiteY4" fmla="*/ 363727 h 537219"/>
              <a:gd name="connsiteX5" fmla="*/ 347086 w 1365261"/>
              <a:gd name="connsiteY5" fmla="*/ 65357 h 537219"/>
              <a:gd name="connsiteX6" fmla="*/ 792881 w 1365261"/>
              <a:gd name="connsiteY6" fmla="*/ 374809 h 537219"/>
              <a:gd name="connsiteX7" fmla="*/ 1356375 w 1365261"/>
              <a:gd name="connsiteY7" fmla="*/ 528275 h 537219"/>
              <a:gd name="connsiteX8" fmla="*/ 1361070 w 1365261"/>
              <a:gd name="connsiteY8" fmla="*/ 475858 h 537219"/>
              <a:gd name="connsiteX9" fmla="*/ 365552 w 1365261"/>
              <a:gd name="connsiteY9" fmla="*/ 9666 h 537219"/>
              <a:gd name="connsiteX10" fmla="*/ 346965 w 1365261"/>
              <a:gd name="connsiteY10" fmla="*/ -8944 h 53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65261" h="537219">
                <a:moveTo>
                  <a:pt x="346965" y="-8944"/>
                </a:moveTo>
                <a:lnTo>
                  <a:pt x="-3968" y="341937"/>
                </a:lnTo>
                <a:lnTo>
                  <a:pt x="-4192" y="372659"/>
                </a:lnTo>
                <a:cubicBezTo>
                  <a:pt x="13043" y="389211"/>
                  <a:pt x="30564" y="405484"/>
                  <a:pt x="48310" y="421476"/>
                </a:cubicBezTo>
                <a:lnTo>
                  <a:pt x="48679" y="363727"/>
                </a:lnTo>
                <a:lnTo>
                  <a:pt x="347086" y="65357"/>
                </a:lnTo>
                <a:cubicBezTo>
                  <a:pt x="478304" y="192572"/>
                  <a:pt x="628151" y="296627"/>
                  <a:pt x="792881" y="374809"/>
                </a:cubicBezTo>
                <a:cubicBezTo>
                  <a:pt x="970461" y="459117"/>
                  <a:pt x="1160058" y="510740"/>
                  <a:pt x="1356375" y="528275"/>
                </a:cubicBezTo>
                <a:lnTo>
                  <a:pt x="1361070" y="475858"/>
                </a:lnTo>
                <a:cubicBezTo>
                  <a:pt x="986210" y="442377"/>
                  <a:pt x="632654" y="276810"/>
                  <a:pt x="365552" y="9666"/>
                </a:cubicBezTo>
                <a:lnTo>
                  <a:pt x="346965" y="-8944"/>
                </a:lnTo>
              </a:path>
            </a:pathLst>
          </a:custGeom>
          <a:solidFill>
            <a:srgbClr val="DE3232"/>
          </a:solidFill>
          <a:ln w="46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E7FBEBEB-292F-71A4-509E-52EB1E548EA0}"/>
              </a:ext>
            </a:extLst>
          </p:cNvPr>
          <p:cNvSpPr/>
          <p:nvPr/>
        </p:nvSpPr>
        <p:spPr>
          <a:xfrm>
            <a:off x="1923011" y="1814287"/>
            <a:ext cx="3026553" cy="3026555"/>
          </a:xfrm>
          <a:custGeom>
            <a:avLst/>
            <a:gdLst>
              <a:gd name="connsiteX0" fmla="*/ 1697559 w 3026553"/>
              <a:gd name="connsiteY0" fmla="*/ 3015134 h 3026555"/>
              <a:gd name="connsiteX1" fmla="*/ 11421 w 3026553"/>
              <a:gd name="connsiteY1" fmla="*/ 1697586 h 3026555"/>
              <a:gd name="connsiteX2" fmla="*/ 1328978 w 3026553"/>
              <a:gd name="connsiteY2" fmla="*/ 11423 h 3026555"/>
              <a:gd name="connsiteX3" fmla="*/ 3015138 w 3026553"/>
              <a:gd name="connsiteY3" fmla="*/ 1328989 h 3026555"/>
              <a:gd name="connsiteX4" fmla="*/ 1697559 w 3026553"/>
              <a:gd name="connsiteY4" fmla="*/ 3015134 h 3026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6553" h="3026555">
                <a:moveTo>
                  <a:pt x="1697559" y="3015134"/>
                </a:moveTo>
                <a:cubicBezTo>
                  <a:pt x="868130" y="3116923"/>
                  <a:pt x="113204" y="2527030"/>
                  <a:pt x="11421" y="1697586"/>
                </a:cubicBezTo>
                <a:cubicBezTo>
                  <a:pt x="-90365" y="868141"/>
                  <a:pt x="499518" y="113215"/>
                  <a:pt x="1328978" y="11423"/>
                </a:cubicBezTo>
                <a:cubicBezTo>
                  <a:pt x="2158439" y="-90373"/>
                  <a:pt x="2913349" y="499529"/>
                  <a:pt x="3015138" y="1328989"/>
                </a:cubicBezTo>
                <a:cubicBezTo>
                  <a:pt x="3116896" y="2158434"/>
                  <a:pt x="2527019" y="2913344"/>
                  <a:pt x="1697559" y="3015134"/>
                </a:cubicBezTo>
              </a:path>
            </a:pathLst>
          </a:custGeom>
          <a:solidFill>
            <a:srgbClr val="43ADD7"/>
          </a:solidFill>
          <a:ln w="467" cap="flat">
            <a:noFill/>
            <a:prstDash val="solid"/>
            <a:miter/>
          </a:ln>
        </p:spPr>
        <p:txBody>
          <a:bodyPr tIns="1005840" rtlCol="0" anchor="ctr"/>
          <a:lstStyle/>
          <a:p>
            <a:pPr algn="ctr"/>
            <a:r>
              <a:rPr lang="en-IE" sz="1800" b="1" dirty="0">
                <a:solidFill>
                  <a:schemeClr val="bg1"/>
                </a:solidFill>
              </a:rPr>
              <a:t>Category</a:t>
            </a:r>
            <a:br>
              <a:rPr lang="en-IE" sz="1800" b="1" dirty="0">
                <a:solidFill>
                  <a:schemeClr val="bg1"/>
                </a:solidFill>
              </a:rPr>
            </a:br>
            <a:r>
              <a:rPr lang="en-IE" sz="1800" b="1" dirty="0">
                <a:solidFill>
                  <a:schemeClr val="bg1"/>
                </a:solidFill>
              </a:rPr>
              <a:t>Management</a:t>
            </a:r>
            <a:br>
              <a:rPr lang="en-IE" sz="1800" b="1" dirty="0">
                <a:solidFill>
                  <a:schemeClr val="bg1"/>
                </a:solidFill>
              </a:rPr>
            </a:br>
            <a:r>
              <a:rPr lang="en-IE" sz="1800" b="1" dirty="0">
                <a:solidFill>
                  <a:schemeClr val="bg1"/>
                </a:solidFill>
              </a:rPr>
              <a:t>Strategy</a:t>
            </a:r>
            <a:endParaRPr lang="en-GB" sz="1800" b="1" dirty="0">
              <a:solidFill>
                <a:schemeClr val="bg1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D621C47A-C0B0-9A7C-B741-C847B034D7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70180" y="2355456"/>
            <a:ext cx="932215" cy="932212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F8AB813-7661-3DC0-2236-5164B53064B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74" r="23074"/>
          <a:stretch/>
        </p:blipFill>
        <p:spPr>
          <a:xfrm>
            <a:off x="7400442" y="0"/>
            <a:ext cx="3763440" cy="4659020"/>
          </a:xfrm>
          <a:custGeom>
            <a:avLst/>
            <a:gdLst>
              <a:gd name="connsiteX0" fmla="*/ 0 w 3679400"/>
              <a:gd name="connsiteY0" fmla="*/ 0 h 4554980"/>
              <a:gd name="connsiteX1" fmla="*/ 3679399 w 3679400"/>
              <a:gd name="connsiteY1" fmla="*/ 0 h 4554980"/>
              <a:gd name="connsiteX2" fmla="*/ 3679400 w 3679400"/>
              <a:gd name="connsiteY2" fmla="*/ 2715280 h 4554980"/>
              <a:gd name="connsiteX3" fmla="*/ 1839700 w 3679400"/>
              <a:gd name="connsiteY3" fmla="*/ 4554980 h 4554980"/>
              <a:gd name="connsiteX4" fmla="*/ 0 w 3679400"/>
              <a:gd name="connsiteY4" fmla="*/ 2715280 h 455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9400" h="4554980">
                <a:moveTo>
                  <a:pt x="0" y="0"/>
                </a:moveTo>
                <a:lnTo>
                  <a:pt x="3679399" y="0"/>
                </a:lnTo>
                <a:cubicBezTo>
                  <a:pt x="3679399" y="905093"/>
                  <a:pt x="3679400" y="1810187"/>
                  <a:pt x="3679400" y="2715280"/>
                </a:cubicBezTo>
                <a:cubicBezTo>
                  <a:pt x="3679400" y="3731318"/>
                  <a:pt x="2855738" y="4554980"/>
                  <a:pt x="1839700" y="4554980"/>
                </a:cubicBezTo>
                <a:cubicBezTo>
                  <a:pt x="823662" y="4554980"/>
                  <a:pt x="0" y="3731318"/>
                  <a:pt x="0" y="2715280"/>
                </a:cubicBezTo>
                <a:close/>
              </a:path>
            </a:pathLst>
          </a:cu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234AEF34-29D8-4401-6CEA-6894AC602D6C}"/>
              </a:ext>
            </a:extLst>
          </p:cNvPr>
          <p:cNvSpPr txBox="1"/>
          <p:nvPr/>
        </p:nvSpPr>
        <p:spPr>
          <a:xfrm>
            <a:off x="6728735" y="4883140"/>
            <a:ext cx="5106855" cy="147732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>
              <a:spcBef>
                <a:spcPct val="0"/>
              </a:spcBef>
            </a:pPr>
            <a:r>
              <a:rPr lang="fr-FR" sz="3200" b="1" dirty="0">
                <a:solidFill>
                  <a:srgbClr val="243D42"/>
                </a:solidFill>
                <a:latin typeface="+mj-lt"/>
                <a:ea typeface="+mj-ea"/>
                <a:cs typeface="+mj-cs"/>
              </a:rPr>
              <a:t>Education </a:t>
            </a:r>
            <a:r>
              <a:rPr lang="fr-FR" sz="3200" b="1" dirty="0" err="1">
                <a:solidFill>
                  <a:srgbClr val="243D42"/>
                </a:solidFill>
                <a:latin typeface="+mj-lt"/>
                <a:ea typeface="+mj-ea"/>
                <a:cs typeface="+mj-cs"/>
              </a:rPr>
              <a:t>Procurement</a:t>
            </a:r>
            <a:r>
              <a:rPr lang="fr-FR" sz="3200" b="1" dirty="0">
                <a:solidFill>
                  <a:srgbClr val="243D42"/>
                </a:solidFill>
                <a:latin typeface="+mj-lt"/>
                <a:ea typeface="+mj-ea"/>
                <a:cs typeface="+mj-cs"/>
              </a:rPr>
              <a:t> Model: </a:t>
            </a:r>
            <a:r>
              <a:rPr lang="fr-FR" sz="3200" b="1" dirty="0" err="1">
                <a:solidFill>
                  <a:srgbClr val="243D42"/>
                </a:solidFill>
                <a:latin typeface="+mj-lt"/>
                <a:ea typeface="+mj-ea"/>
                <a:cs typeface="+mj-cs"/>
              </a:rPr>
              <a:t>Aggregation</a:t>
            </a:r>
            <a:r>
              <a:rPr lang="fr-FR" sz="3200" b="1" dirty="0">
                <a:solidFill>
                  <a:srgbClr val="243D42"/>
                </a:solidFill>
                <a:latin typeface="+mj-lt"/>
                <a:ea typeface="+mj-ea"/>
                <a:cs typeface="+mj-cs"/>
              </a:rPr>
              <a:t> &amp; Consolidation</a:t>
            </a:r>
            <a:endParaRPr lang="en-US" sz="3200" b="1" dirty="0">
              <a:solidFill>
                <a:srgbClr val="243D4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6B7DABC-EB16-8CC6-8AC6-725E30CBDEC5}"/>
              </a:ext>
            </a:extLst>
          </p:cNvPr>
          <p:cNvSpPr txBox="1"/>
          <p:nvPr/>
        </p:nvSpPr>
        <p:spPr>
          <a:xfrm>
            <a:off x="2076903" y="1164978"/>
            <a:ext cx="108221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Identify/Meets Requiremen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4987A88-D591-E1EA-BD47-1FF7C4DA7F63}"/>
              </a:ext>
            </a:extLst>
          </p:cNvPr>
          <p:cNvSpPr txBox="1"/>
          <p:nvPr/>
        </p:nvSpPr>
        <p:spPr>
          <a:xfrm>
            <a:off x="3826707" y="1164978"/>
            <a:ext cx="108221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Forecast Deman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E3AF17E-8BDB-3B46-DC28-27C95B587824}"/>
              </a:ext>
            </a:extLst>
          </p:cNvPr>
          <p:cNvSpPr txBox="1"/>
          <p:nvPr/>
        </p:nvSpPr>
        <p:spPr>
          <a:xfrm>
            <a:off x="5096482" y="2414520"/>
            <a:ext cx="1082212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Create Aggregated Forecas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E40110C-F0D1-E6F0-769C-6D04179726CD}"/>
              </a:ext>
            </a:extLst>
          </p:cNvPr>
          <p:cNvSpPr txBox="1"/>
          <p:nvPr/>
        </p:nvSpPr>
        <p:spPr>
          <a:xfrm>
            <a:off x="671910" y="2414520"/>
            <a:ext cx="1126154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Frameworks &amp; Arrangement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56992B5-944D-1401-A94F-626EA6711373}"/>
              </a:ext>
            </a:extLst>
          </p:cNvPr>
          <p:cNvSpPr txBox="1"/>
          <p:nvPr/>
        </p:nvSpPr>
        <p:spPr>
          <a:xfrm>
            <a:off x="803312" y="4126703"/>
            <a:ext cx="1082212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Gap Analysi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E05605D-F05F-7FE1-2D56-8C6442B62C7C}"/>
              </a:ext>
            </a:extLst>
          </p:cNvPr>
          <p:cNvSpPr txBox="1"/>
          <p:nvPr/>
        </p:nvSpPr>
        <p:spPr>
          <a:xfrm>
            <a:off x="5077879" y="4126703"/>
            <a:ext cx="1082212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MAPP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1C5A059-FB3F-680D-C986-BF8B88E99034}"/>
              </a:ext>
            </a:extLst>
          </p:cNvPr>
          <p:cNvSpPr txBox="1"/>
          <p:nvPr/>
        </p:nvSpPr>
        <p:spPr>
          <a:xfrm>
            <a:off x="3662837" y="5425376"/>
            <a:ext cx="108221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Category Data Sort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E96157-9DE6-111D-220D-B8D6A54226D7}"/>
              </a:ext>
            </a:extLst>
          </p:cNvPr>
          <p:cNvSpPr txBox="1"/>
          <p:nvPr/>
        </p:nvSpPr>
        <p:spPr>
          <a:xfrm>
            <a:off x="1923011" y="5425376"/>
            <a:ext cx="1189818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sz="1200" dirty="0"/>
              <a:t>Aggregation &amp; Dissemination 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ECC116D8-BE22-D4EB-062E-4F29E21610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48725" y="736258"/>
            <a:ext cx="338568" cy="338568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4570E02F-431B-370F-D062-68344E4317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98529" y="736258"/>
            <a:ext cx="338568" cy="338568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2AF0044A-2E9F-5CB2-7A90-56C91D8737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68304" y="1983647"/>
            <a:ext cx="338568" cy="338568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65E7E011-699C-B779-A5B7-1463E7BA6B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65703" y="1983647"/>
            <a:ext cx="338568" cy="338568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AF995C0C-59F5-4CD0-D7BE-01575FEB855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5134" y="3677442"/>
            <a:ext cx="338568" cy="338568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4B5F2F70-203C-4690-825D-F3481C463E5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449701" y="3677442"/>
            <a:ext cx="338568" cy="338568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3B67EFCC-F92B-59CA-D1A3-B81A22E1B2D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034659" y="5028626"/>
            <a:ext cx="338568" cy="338568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CD81402D-B679-1506-5317-6B0EF98E7F7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348636" y="5028626"/>
            <a:ext cx="338568" cy="33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76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43D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66F7BE77-CAE6-4C7A-D85A-D5CAAD3FCB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397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66F7BE77-CAE6-4C7A-D85A-D5CAAD3FC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 descr="A stack of books&#10;&#10;Description automatically generated">
            <a:extLst>
              <a:ext uri="{FF2B5EF4-FFF2-40B4-BE49-F238E27FC236}">
                <a16:creationId xmlns:a16="http://schemas.microsoft.com/office/drawing/2014/main" id="{65039C9F-15C7-9F4A-D401-726DFF7FB5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44" r="3616"/>
          <a:stretch/>
        </p:blipFill>
        <p:spPr>
          <a:xfrm>
            <a:off x="2279262" y="3585030"/>
            <a:ext cx="2548432" cy="2548420"/>
          </a:xfrm>
          <a:custGeom>
            <a:avLst/>
            <a:gdLst>
              <a:gd name="connsiteX0" fmla="*/ 1274217 w 2548432"/>
              <a:gd name="connsiteY0" fmla="*/ 0 h 2548420"/>
              <a:gd name="connsiteX1" fmla="*/ 2548432 w 2548432"/>
              <a:gd name="connsiteY1" fmla="*/ 1274225 h 2548420"/>
              <a:gd name="connsiteX2" fmla="*/ 1274217 w 2548432"/>
              <a:gd name="connsiteY2" fmla="*/ 2548420 h 2548420"/>
              <a:gd name="connsiteX3" fmla="*/ 0 w 2548432"/>
              <a:gd name="connsiteY3" fmla="*/ 1274225 h 2548420"/>
              <a:gd name="connsiteX4" fmla="*/ 1274217 w 2548432"/>
              <a:gd name="connsiteY4" fmla="*/ 0 h 2548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8432" h="2548420">
                <a:moveTo>
                  <a:pt x="1274217" y="0"/>
                </a:moveTo>
                <a:cubicBezTo>
                  <a:pt x="1977945" y="0"/>
                  <a:pt x="2548432" y="570492"/>
                  <a:pt x="2548432" y="1274225"/>
                </a:cubicBezTo>
                <a:cubicBezTo>
                  <a:pt x="2548432" y="1977923"/>
                  <a:pt x="1977935" y="2548420"/>
                  <a:pt x="1274217" y="2548420"/>
                </a:cubicBezTo>
                <a:cubicBezTo>
                  <a:pt x="570487" y="2548420"/>
                  <a:pt x="0" y="1977923"/>
                  <a:pt x="0" y="1274225"/>
                </a:cubicBezTo>
                <a:cubicBezTo>
                  <a:pt x="0" y="570492"/>
                  <a:pt x="570487" y="0"/>
                  <a:pt x="1274217" y="0"/>
                </a:cubicBezTo>
                <a:close/>
              </a:path>
            </a:pathLst>
          </a:custGeom>
        </p:spPr>
      </p:pic>
      <p:sp>
        <p:nvSpPr>
          <p:cNvPr id="7" name="Freeform: Shape 3">
            <a:extLst>
              <a:ext uri="{FF2B5EF4-FFF2-40B4-BE49-F238E27FC236}">
                <a16:creationId xmlns:a16="http://schemas.microsoft.com/office/drawing/2014/main" id="{244903DD-CF36-3074-935C-08156502CB6B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2C0F7AC-7A38-CD41-BC04-4A26876DB4D3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ED430A0-FEFB-6B3C-392A-603A21E7E433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A7A0842-3DB1-430D-F5DC-5443F77405A9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5A092AB3-7B89-7211-D4AF-AEA34529F054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7</a:t>
            </a:fld>
            <a:endParaRPr lang="en-US" sz="800" dirty="0"/>
          </a:p>
        </p:txBody>
      </p:sp>
      <p:pic>
        <p:nvPicPr>
          <p:cNvPr id="21" name="Picture 20" descr="A picture containing text, person, game&#10;&#10;Description automatically generated">
            <a:extLst>
              <a:ext uri="{FF2B5EF4-FFF2-40B4-BE49-F238E27FC236}">
                <a16:creationId xmlns:a16="http://schemas.microsoft.com/office/drawing/2014/main" id="{C3507A96-2D07-6369-657D-AFB37342E2E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74" t="9879" r="16046"/>
          <a:stretch/>
        </p:blipFill>
        <p:spPr>
          <a:xfrm>
            <a:off x="0" y="0"/>
            <a:ext cx="5958149" cy="5958149"/>
          </a:xfrm>
          <a:custGeom>
            <a:avLst/>
            <a:gdLst>
              <a:gd name="connsiteX0" fmla="*/ 0 w 5958149"/>
              <a:gd name="connsiteY0" fmla="*/ 0 h 5958149"/>
              <a:gd name="connsiteX1" fmla="*/ 5958149 w 5958149"/>
              <a:gd name="connsiteY1" fmla="*/ 0 h 5958149"/>
              <a:gd name="connsiteX2" fmla="*/ 4597435 w 5958149"/>
              <a:gd name="connsiteY2" fmla="*/ 3789727 h 5958149"/>
              <a:gd name="connsiteX3" fmla="*/ 4577736 w 5958149"/>
              <a:gd name="connsiteY3" fmla="*/ 3812467 h 5958149"/>
              <a:gd name="connsiteX4" fmla="*/ 4485486 w 5958149"/>
              <a:gd name="connsiteY4" fmla="*/ 3728623 h 5958149"/>
              <a:gd name="connsiteX5" fmla="*/ 3553478 w 5958149"/>
              <a:gd name="connsiteY5" fmla="*/ 3394037 h 5958149"/>
              <a:gd name="connsiteX6" fmla="*/ 2088269 w 5958149"/>
              <a:gd name="connsiteY6" fmla="*/ 4859257 h 5958149"/>
              <a:gd name="connsiteX7" fmla="*/ 2203413 w 5958149"/>
              <a:gd name="connsiteY7" fmla="*/ 5429564 h 5958149"/>
              <a:gd name="connsiteX8" fmla="*/ 2246269 w 5958149"/>
              <a:gd name="connsiteY8" fmla="*/ 5518527 h 5958149"/>
              <a:gd name="connsiteX9" fmla="*/ 2048410 w 5958149"/>
              <a:gd name="connsiteY9" fmla="*/ 5596554 h 5958149"/>
              <a:gd name="connsiteX10" fmla="*/ 0 w 5958149"/>
              <a:gd name="connsiteY10" fmla="*/ 5958149 h 5958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58149" h="5958149">
                <a:moveTo>
                  <a:pt x="0" y="0"/>
                </a:moveTo>
                <a:lnTo>
                  <a:pt x="5958149" y="0"/>
                </a:lnTo>
                <a:cubicBezTo>
                  <a:pt x="5958149" y="1439415"/>
                  <a:pt x="5447466" y="2759769"/>
                  <a:pt x="4597435" y="3789727"/>
                </a:cubicBezTo>
                <a:lnTo>
                  <a:pt x="4577736" y="3812467"/>
                </a:lnTo>
                <a:lnTo>
                  <a:pt x="4485486" y="3728623"/>
                </a:lnTo>
                <a:cubicBezTo>
                  <a:pt x="4232211" y="3519600"/>
                  <a:pt x="3907508" y="3394037"/>
                  <a:pt x="3553478" y="3394037"/>
                </a:cubicBezTo>
                <a:cubicBezTo>
                  <a:pt x="2744266" y="3394037"/>
                  <a:pt x="2088269" y="4050040"/>
                  <a:pt x="2088269" y="4859257"/>
                </a:cubicBezTo>
                <a:cubicBezTo>
                  <a:pt x="2088269" y="5061551"/>
                  <a:pt x="2129269" y="5254272"/>
                  <a:pt x="2203413" y="5429564"/>
                </a:cubicBezTo>
                <a:lnTo>
                  <a:pt x="2246269" y="5518527"/>
                </a:lnTo>
                <a:lnTo>
                  <a:pt x="2048410" y="5596554"/>
                </a:lnTo>
                <a:cubicBezTo>
                  <a:pt x="1409649" y="5830479"/>
                  <a:pt x="719707" y="5958149"/>
                  <a:pt x="0" y="5958149"/>
                </a:cubicBezTo>
                <a:close/>
              </a:path>
            </a:pathLst>
          </a:cu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788BA6F-2752-E13C-8294-96A3ED181486}"/>
              </a:ext>
            </a:extLst>
          </p:cNvPr>
          <p:cNvSpPr txBox="1"/>
          <p:nvPr/>
        </p:nvSpPr>
        <p:spPr>
          <a:xfrm>
            <a:off x="7306895" y="2431742"/>
            <a:ext cx="3745043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US" sz="1600" dirty="0">
                <a:solidFill>
                  <a:schemeClr val="bg1"/>
                </a:solidFill>
              </a:rPr>
              <a:t>Sourcing Report for Education Secto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CEBA58D-D392-7C70-7B0F-B67C0ADB33AA}"/>
              </a:ext>
            </a:extLst>
          </p:cNvPr>
          <p:cNvSpPr txBox="1"/>
          <p:nvPr/>
        </p:nvSpPr>
        <p:spPr>
          <a:xfrm>
            <a:off x="7679253" y="3363746"/>
            <a:ext cx="3745043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US" sz="1600" dirty="0">
                <a:solidFill>
                  <a:schemeClr val="bg1"/>
                </a:solidFill>
              </a:rPr>
              <a:t>2022 Sector Summary Report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131D5EC-7395-94F1-13F7-0BC3BC2A1B00}"/>
              </a:ext>
            </a:extLst>
          </p:cNvPr>
          <p:cNvSpPr txBox="1"/>
          <p:nvPr/>
        </p:nvSpPr>
        <p:spPr>
          <a:xfrm>
            <a:off x="8073505" y="4458732"/>
            <a:ext cx="3745043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US" sz="1600" dirty="0">
                <a:solidFill>
                  <a:schemeClr val="bg1"/>
                </a:solidFill>
              </a:rPr>
              <a:t>Individual Institution Report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8A0C8CB-D682-833B-702A-B0DA59CA5DC1}"/>
              </a:ext>
            </a:extLst>
          </p:cNvPr>
          <p:cNvSpPr txBox="1"/>
          <p:nvPr/>
        </p:nvSpPr>
        <p:spPr>
          <a:xfrm>
            <a:off x="8753482" y="5184386"/>
            <a:ext cx="3336231" cy="98488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US" sz="1600" dirty="0">
                <a:solidFill>
                  <a:schemeClr val="bg1"/>
                </a:solidFill>
              </a:rPr>
              <a:t>Performance Charts showing Actual Spend for 2018 to 2021 </a:t>
            </a:r>
          </a:p>
          <a:p>
            <a:r>
              <a:rPr lang="en-US" sz="1600" dirty="0">
                <a:solidFill>
                  <a:schemeClr val="bg1"/>
                </a:solidFill>
              </a:rPr>
              <a:t>and Tables showing Forecasted Spend for 2022 and 2023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E0BA06F-22ED-A938-9E2E-EED5E75EB466}"/>
              </a:ext>
            </a:extLst>
          </p:cNvPr>
          <p:cNvGrpSpPr/>
          <p:nvPr/>
        </p:nvGrpSpPr>
        <p:grpSpPr>
          <a:xfrm>
            <a:off x="6298377" y="291308"/>
            <a:ext cx="791517" cy="329711"/>
            <a:chOff x="980349" y="1446261"/>
            <a:chExt cx="791517" cy="329711"/>
          </a:xfrm>
          <a:solidFill>
            <a:srgbClr val="FCA943">
              <a:alpha val="70000"/>
            </a:srgbClr>
          </a:solidFill>
        </p:grpSpPr>
        <p:grpSp>
          <p:nvGrpSpPr>
            <p:cNvPr id="67" name="Group 12">
              <a:extLst>
                <a:ext uri="{FF2B5EF4-FFF2-40B4-BE49-F238E27FC236}">
                  <a16:creationId xmlns:a16="http://schemas.microsoft.com/office/drawing/2014/main" id="{AC61A790-F46E-AA93-5904-A5763C141B7F}"/>
                </a:ext>
              </a:extLst>
            </p:cNvPr>
            <p:cNvGrpSpPr/>
            <p:nvPr/>
          </p:nvGrpSpPr>
          <p:grpSpPr>
            <a:xfrm>
              <a:off x="980349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2" name="Freeform 13">
                <a:extLst>
                  <a:ext uri="{FF2B5EF4-FFF2-40B4-BE49-F238E27FC236}">
                    <a16:creationId xmlns:a16="http://schemas.microsoft.com/office/drawing/2014/main" id="{18E65720-B75C-B886-90A1-187156AFF599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68" name="Group 14">
              <a:extLst>
                <a:ext uri="{FF2B5EF4-FFF2-40B4-BE49-F238E27FC236}">
                  <a16:creationId xmlns:a16="http://schemas.microsoft.com/office/drawing/2014/main" id="{51BA1935-F2A9-DF97-03E1-C4D7AF4DB11B}"/>
                </a:ext>
              </a:extLst>
            </p:cNvPr>
            <p:cNvGrpSpPr/>
            <p:nvPr/>
          </p:nvGrpSpPr>
          <p:grpSpPr>
            <a:xfrm>
              <a:off x="1211252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1" name="Freeform 15">
                <a:extLst>
                  <a:ext uri="{FF2B5EF4-FFF2-40B4-BE49-F238E27FC236}">
                    <a16:creationId xmlns:a16="http://schemas.microsoft.com/office/drawing/2014/main" id="{F81DB5C3-4551-32FE-27CB-67F754FCF3FD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69" name="Group 16">
              <a:extLst>
                <a:ext uri="{FF2B5EF4-FFF2-40B4-BE49-F238E27FC236}">
                  <a16:creationId xmlns:a16="http://schemas.microsoft.com/office/drawing/2014/main" id="{FF087AD2-D4BB-1115-1E06-DA0B59B965CB}"/>
                </a:ext>
              </a:extLst>
            </p:cNvPr>
            <p:cNvGrpSpPr/>
            <p:nvPr/>
          </p:nvGrpSpPr>
          <p:grpSpPr>
            <a:xfrm>
              <a:off x="1442155" y="1446261"/>
              <a:ext cx="329711" cy="329711"/>
              <a:chOff x="0" y="0"/>
              <a:chExt cx="6350000" cy="6350000"/>
            </a:xfrm>
            <a:grpFill/>
          </p:grpSpPr>
          <p:sp>
            <p:nvSpPr>
              <p:cNvPr id="70" name="Freeform 17">
                <a:extLst>
                  <a:ext uri="{FF2B5EF4-FFF2-40B4-BE49-F238E27FC236}">
                    <a16:creationId xmlns:a16="http://schemas.microsoft.com/office/drawing/2014/main" id="{82ECF10C-4D17-D36C-8F9F-E971883FDD1D}"/>
                  </a:ext>
                </a:extLst>
              </p:cNvPr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AA587D89-E7F6-910C-4875-54C8CFCFBBA9}"/>
              </a:ext>
            </a:extLst>
          </p:cNvPr>
          <p:cNvSpPr txBox="1"/>
          <p:nvPr/>
        </p:nvSpPr>
        <p:spPr>
          <a:xfrm>
            <a:off x="6298377" y="795937"/>
            <a:ext cx="5406557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r>
              <a:rPr lang="en-IN" sz="4000" b="1" dirty="0">
                <a:solidFill>
                  <a:schemeClr val="bg1"/>
                </a:solidFill>
              </a:rPr>
              <a:t>Data Driven Outputs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025D098-98C5-33F6-6F8B-A8EA35089EE6}"/>
              </a:ext>
            </a:extLst>
          </p:cNvPr>
          <p:cNvSpPr/>
          <p:nvPr/>
        </p:nvSpPr>
        <p:spPr>
          <a:xfrm>
            <a:off x="6238329" y="1844377"/>
            <a:ext cx="960616" cy="1094986"/>
          </a:xfrm>
          <a:custGeom>
            <a:avLst/>
            <a:gdLst>
              <a:gd name="connsiteX0" fmla="*/ 0 w 2032000"/>
              <a:gd name="connsiteY0" fmla="*/ 1354666 h 1354666"/>
              <a:gd name="connsiteX1" fmla="*/ 1016000 w 2032000"/>
              <a:gd name="connsiteY1" fmla="*/ 0 h 1354666"/>
              <a:gd name="connsiteX2" fmla="*/ 1016001 w 2032000"/>
              <a:gd name="connsiteY2" fmla="*/ 0 h 1354666"/>
              <a:gd name="connsiteX3" fmla="*/ 2032000 w 2032000"/>
              <a:gd name="connsiteY3" fmla="*/ 1354666 h 1354666"/>
              <a:gd name="connsiteX4" fmla="*/ 0 w 2032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2000" h="1354666">
                <a:moveTo>
                  <a:pt x="0" y="1354666"/>
                </a:moveTo>
                <a:lnTo>
                  <a:pt x="1016000" y="0"/>
                </a:lnTo>
                <a:lnTo>
                  <a:pt x="1016001" y="0"/>
                </a:lnTo>
                <a:lnTo>
                  <a:pt x="2032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rgbClr val="43ADD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850" tIns="69850" rIns="69850" bIns="69850" numCol="1" spcCol="1270" anchor="ctr" anchorCtr="0">
            <a:noAutofit/>
          </a:bodyPr>
          <a:lstStyle/>
          <a:p>
            <a:pPr marL="0" lvl="0" indent="0" algn="ctr" defTabSz="2444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55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47E9559-32AA-9889-E1C5-6FCB13491363}"/>
              </a:ext>
            </a:extLst>
          </p:cNvPr>
          <p:cNvSpPr/>
          <p:nvPr/>
        </p:nvSpPr>
        <p:spPr>
          <a:xfrm>
            <a:off x="5758021" y="2939363"/>
            <a:ext cx="1921232" cy="1094986"/>
          </a:xfrm>
          <a:custGeom>
            <a:avLst/>
            <a:gdLst>
              <a:gd name="connsiteX0" fmla="*/ 0 w 4064000"/>
              <a:gd name="connsiteY0" fmla="*/ 1354666 h 1354666"/>
              <a:gd name="connsiteX1" fmla="*/ 1016000 w 4064000"/>
              <a:gd name="connsiteY1" fmla="*/ 0 h 1354666"/>
              <a:gd name="connsiteX2" fmla="*/ 3048001 w 4064000"/>
              <a:gd name="connsiteY2" fmla="*/ 0 h 1354666"/>
              <a:gd name="connsiteX3" fmla="*/ 4064000 w 4064000"/>
              <a:gd name="connsiteY3" fmla="*/ 1354666 h 1354666"/>
              <a:gd name="connsiteX4" fmla="*/ 0 w 4064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000" h="1354666">
                <a:moveTo>
                  <a:pt x="0" y="1354666"/>
                </a:moveTo>
                <a:lnTo>
                  <a:pt x="1016000" y="0"/>
                </a:lnTo>
                <a:lnTo>
                  <a:pt x="3048001" y="0"/>
                </a:lnTo>
                <a:lnTo>
                  <a:pt x="4064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rgbClr val="00DDE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93749" tIns="82550" rIns="793751" bIns="82550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6500" kern="12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107122B-5904-7AE2-9D80-4005A1FD8FB6}"/>
              </a:ext>
            </a:extLst>
          </p:cNvPr>
          <p:cNvSpPr/>
          <p:nvPr/>
        </p:nvSpPr>
        <p:spPr>
          <a:xfrm>
            <a:off x="5277713" y="4034349"/>
            <a:ext cx="2881848" cy="1094986"/>
          </a:xfrm>
          <a:custGeom>
            <a:avLst/>
            <a:gdLst>
              <a:gd name="connsiteX0" fmla="*/ 0 w 6096000"/>
              <a:gd name="connsiteY0" fmla="*/ 1354666 h 1354666"/>
              <a:gd name="connsiteX1" fmla="*/ 1016000 w 6096000"/>
              <a:gd name="connsiteY1" fmla="*/ 0 h 1354666"/>
              <a:gd name="connsiteX2" fmla="*/ 5080001 w 6096000"/>
              <a:gd name="connsiteY2" fmla="*/ 0 h 1354666"/>
              <a:gd name="connsiteX3" fmla="*/ 6096000 w 6096000"/>
              <a:gd name="connsiteY3" fmla="*/ 1354666 h 1354666"/>
              <a:gd name="connsiteX4" fmla="*/ 0 w 6096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1354666">
                <a:moveTo>
                  <a:pt x="0" y="1354666"/>
                </a:moveTo>
                <a:lnTo>
                  <a:pt x="1016000" y="0"/>
                </a:lnTo>
                <a:lnTo>
                  <a:pt x="5080001" y="0"/>
                </a:lnTo>
                <a:lnTo>
                  <a:pt x="6096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rgbClr val="9D2F9D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9350" tIns="82550" rIns="1149350" bIns="82550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6500" kern="120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BC42200-C536-66FD-5E81-108DF19E6E46}"/>
              </a:ext>
            </a:extLst>
          </p:cNvPr>
          <p:cNvSpPr/>
          <p:nvPr/>
        </p:nvSpPr>
        <p:spPr>
          <a:xfrm>
            <a:off x="4797405" y="5129335"/>
            <a:ext cx="3842464" cy="1094986"/>
          </a:xfrm>
          <a:custGeom>
            <a:avLst/>
            <a:gdLst>
              <a:gd name="connsiteX0" fmla="*/ 0 w 8128000"/>
              <a:gd name="connsiteY0" fmla="*/ 1354666 h 1354666"/>
              <a:gd name="connsiteX1" fmla="*/ 1016000 w 8128000"/>
              <a:gd name="connsiteY1" fmla="*/ 0 h 1354666"/>
              <a:gd name="connsiteX2" fmla="*/ 7112001 w 8128000"/>
              <a:gd name="connsiteY2" fmla="*/ 0 h 1354666"/>
              <a:gd name="connsiteX3" fmla="*/ 8128000 w 8128000"/>
              <a:gd name="connsiteY3" fmla="*/ 1354666 h 1354666"/>
              <a:gd name="connsiteX4" fmla="*/ 0 w 8128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28000" h="1354666">
                <a:moveTo>
                  <a:pt x="0" y="1354666"/>
                </a:moveTo>
                <a:lnTo>
                  <a:pt x="1016000" y="0"/>
                </a:lnTo>
                <a:lnTo>
                  <a:pt x="7112001" y="0"/>
                </a:lnTo>
                <a:lnTo>
                  <a:pt x="8128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rgbClr val="FB900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04949" tIns="82550" rIns="1504951" bIns="82550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6500" kern="1200" dirty="0"/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1F66F5D2-9513-4873-B790-D023BA324A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76135" y="5434326"/>
            <a:ext cx="485004" cy="485004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A485D076-93DF-9641-5812-288AB5D023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76135" y="4339340"/>
            <a:ext cx="485004" cy="485004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4D9FFCE7-B628-DCA6-C16A-E213C271BB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76135" y="3244354"/>
            <a:ext cx="485004" cy="485004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00CB8AE9-78E2-3752-00D9-2B2B6376F96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76135" y="2415540"/>
            <a:ext cx="485004" cy="48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89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Free-form: Shape 73">
            <a:extLst>
              <a:ext uri="{FF2B5EF4-FFF2-40B4-BE49-F238E27FC236}">
                <a16:creationId xmlns:a16="http://schemas.microsoft.com/office/drawing/2014/main" id="{CDD64C68-E577-EF6E-7336-687845A436F6}"/>
              </a:ext>
            </a:extLst>
          </p:cNvPr>
          <p:cNvSpPr/>
          <p:nvPr/>
        </p:nvSpPr>
        <p:spPr>
          <a:xfrm>
            <a:off x="328745" y="168915"/>
            <a:ext cx="7145907" cy="5009489"/>
          </a:xfrm>
          <a:custGeom>
            <a:avLst/>
            <a:gdLst>
              <a:gd name="connsiteX0" fmla="*/ 0 w 7120507"/>
              <a:gd name="connsiteY0" fmla="*/ 0 h 5009489"/>
              <a:gd name="connsiteX1" fmla="*/ 111873 w 7120507"/>
              <a:gd name="connsiteY1" fmla="*/ 37949 h 5009489"/>
              <a:gd name="connsiteX2" fmla="*/ 6935656 w 7120507"/>
              <a:gd name="connsiteY2" fmla="*/ 2536186 h 5009489"/>
              <a:gd name="connsiteX3" fmla="*/ 7052671 w 7120507"/>
              <a:gd name="connsiteY3" fmla="*/ 2562221 h 5009489"/>
              <a:gd name="connsiteX4" fmla="*/ 7120507 w 7120507"/>
              <a:gd name="connsiteY4" fmla="*/ 2573996 h 5009489"/>
              <a:gd name="connsiteX5" fmla="*/ 7120507 w 7120507"/>
              <a:gd name="connsiteY5" fmla="*/ 3138202 h 5009489"/>
              <a:gd name="connsiteX6" fmla="*/ 7084708 w 7120507"/>
              <a:gd name="connsiteY6" fmla="*/ 3146212 h 5009489"/>
              <a:gd name="connsiteX7" fmla="*/ 39556 w 7120507"/>
              <a:gd name="connsiteY7" fmla="*/ 4987286 h 5009489"/>
              <a:gd name="connsiteX8" fmla="*/ 0 w 7120507"/>
              <a:gd name="connsiteY8" fmla="*/ 5009489 h 5009489"/>
              <a:gd name="connsiteX0" fmla="*/ 0 w 7120507"/>
              <a:gd name="connsiteY0" fmla="*/ 0 h 5009489"/>
              <a:gd name="connsiteX1" fmla="*/ 111873 w 7120507"/>
              <a:gd name="connsiteY1" fmla="*/ 37949 h 5009489"/>
              <a:gd name="connsiteX2" fmla="*/ 7024556 w 7120507"/>
              <a:gd name="connsiteY2" fmla="*/ 2498086 h 5009489"/>
              <a:gd name="connsiteX3" fmla="*/ 7052671 w 7120507"/>
              <a:gd name="connsiteY3" fmla="*/ 2562221 h 5009489"/>
              <a:gd name="connsiteX4" fmla="*/ 7120507 w 7120507"/>
              <a:gd name="connsiteY4" fmla="*/ 2573996 h 5009489"/>
              <a:gd name="connsiteX5" fmla="*/ 7120507 w 7120507"/>
              <a:gd name="connsiteY5" fmla="*/ 3138202 h 5009489"/>
              <a:gd name="connsiteX6" fmla="*/ 7084708 w 7120507"/>
              <a:gd name="connsiteY6" fmla="*/ 3146212 h 5009489"/>
              <a:gd name="connsiteX7" fmla="*/ 39556 w 7120507"/>
              <a:gd name="connsiteY7" fmla="*/ 4987286 h 5009489"/>
              <a:gd name="connsiteX8" fmla="*/ 0 w 7120507"/>
              <a:gd name="connsiteY8" fmla="*/ 5009489 h 5009489"/>
              <a:gd name="connsiteX9" fmla="*/ 0 w 7120507"/>
              <a:gd name="connsiteY9" fmla="*/ 0 h 5009489"/>
              <a:gd name="connsiteX0" fmla="*/ 0 w 7120507"/>
              <a:gd name="connsiteY0" fmla="*/ 0 h 5009489"/>
              <a:gd name="connsiteX1" fmla="*/ 111873 w 7120507"/>
              <a:gd name="connsiteY1" fmla="*/ 37949 h 5009489"/>
              <a:gd name="connsiteX2" fmla="*/ 7024556 w 7120507"/>
              <a:gd name="connsiteY2" fmla="*/ 2498086 h 5009489"/>
              <a:gd name="connsiteX3" fmla="*/ 7052671 w 7120507"/>
              <a:gd name="connsiteY3" fmla="*/ 2562221 h 5009489"/>
              <a:gd name="connsiteX4" fmla="*/ 7120507 w 7120507"/>
              <a:gd name="connsiteY4" fmla="*/ 2573996 h 5009489"/>
              <a:gd name="connsiteX5" fmla="*/ 7120507 w 7120507"/>
              <a:gd name="connsiteY5" fmla="*/ 3138202 h 5009489"/>
              <a:gd name="connsiteX6" fmla="*/ 7040258 w 7120507"/>
              <a:gd name="connsiteY6" fmla="*/ 2733462 h 5009489"/>
              <a:gd name="connsiteX7" fmla="*/ 39556 w 7120507"/>
              <a:gd name="connsiteY7" fmla="*/ 4987286 h 5009489"/>
              <a:gd name="connsiteX8" fmla="*/ 0 w 7120507"/>
              <a:gd name="connsiteY8" fmla="*/ 5009489 h 5009489"/>
              <a:gd name="connsiteX9" fmla="*/ 0 w 7120507"/>
              <a:gd name="connsiteY9" fmla="*/ 0 h 5009489"/>
              <a:gd name="connsiteX0" fmla="*/ 0 w 7145907"/>
              <a:gd name="connsiteY0" fmla="*/ 0 h 5009489"/>
              <a:gd name="connsiteX1" fmla="*/ 111873 w 7145907"/>
              <a:gd name="connsiteY1" fmla="*/ 37949 h 5009489"/>
              <a:gd name="connsiteX2" fmla="*/ 7024556 w 7145907"/>
              <a:gd name="connsiteY2" fmla="*/ 2498086 h 5009489"/>
              <a:gd name="connsiteX3" fmla="*/ 7052671 w 7145907"/>
              <a:gd name="connsiteY3" fmla="*/ 2562221 h 5009489"/>
              <a:gd name="connsiteX4" fmla="*/ 7120507 w 7145907"/>
              <a:gd name="connsiteY4" fmla="*/ 2573996 h 5009489"/>
              <a:gd name="connsiteX5" fmla="*/ 7145907 w 7145907"/>
              <a:gd name="connsiteY5" fmla="*/ 2611152 h 5009489"/>
              <a:gd name="connsiteX6" fmla="*/ 7040258 w 7145907"/>
              <a:gd name="connsiteY6" fmla="*/ 2733462 h 5009489"/>
              <a:gd name="connsiteX7" fmla="*/ 39556 w 7145907"/>
              <a:gd name="connsiteY7" fmla="*/ 4987286 h 5009489"/>
              <a:gd name="connsiteX8" fmla="*/ 0 w 7145907"/>
              <a:gd name="connsiteY8" fmla="*/ 5009489 h 5009489"/>
              <a:gd name="connsiteX9" fmla="*/ 0 w 7145907"/>
              <a:gd name="connsiteY9" fmla="*/ 0 h 5009489"/>
              <a:gd name="connsiteX0" fmla="*/ 0 w 7145907"/>
              <a:gd name="connsiteY0" fmla="*/ 0 h 5009489"/>
              <a:gd name="connsiteX1" fmla="*/ 111873 w 7145907"/>
              <a:gd name="connsiteY1" fmla="*/ 37949 h 5009489"/>
              <a:gd name="connsiteX2" fmla="*/ 7024556 w 7145907"/>
              <a:gd name="connsiteY2" fmla="*/ 2498086 h 5009489"/>
              <a:gd name="connsiteX3" fmla="*/ 7052671 w 7145907"/>
              <a:gd name="connsiteY3" fmla="*/ 2562221 h 5009489"/>
              <a:gd name="connsiteX4" fmla="*/ 7120507 w 7145907"/>
              <a:gd name="connsiteY4" fmla="*/ 2573996 h 5009489"/>
              <a:gd name="connsiteX5" fmla="*/ 7145907 w 7145907"/>
              <a:gd name="connsiteY5" fmla="*/ 2611152 h 5009489"/>
              <a:gd name="connsiteX6" fmla="*/ 7027558 w 7145907"/>
              <a:gd name="connsiteY6" fmla="*/ 2720762 h 5009489"/>
              <a:gd name="connsiteX7" fmla="*/ 39556 w 7145907"/>
              <a:gd name="connsiteY7" fmla="*/ 4987286 h 5009489"/>
              <a:gd name="connsiteX8" fmla="*/ 0 w 7145907"/>
              <a:gd name="connsiteY8" fmla="*/ 5009489 h 5009489"/>
              <a:gd name="connsiteX9" fmla="*/ 0 w 7145907"/>
              <a:gd name="connsiteY9" fmla="*/ 0 h 500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45907" h="5009489">
                <a:moveTo>
                  <a:pt x="0" y="0"/>
                </a:moveTo>
                <a:lnTo>
                  <a:pt x="111873" y="37949"/>
                </a:lnTo>
                <a:cubicBezTo>
                  <a:pt x="1477298" y="510528"/>
                  <a:pt x="5759385" y="2188457"/>
                  <a:pt x="7024556" y="2498086"/>
                </a:cubicBezTo>
                <a:cubicBezTo>
                  <a:pt x="7065368" y="2508074"/>
                  <a:pt x="7015447" y="2554827"/>
                  <a:pt x="7052671" y="2562221"/>
                </a:cubicBezTo>
                <a:lnTo>
                  <a:pt x="7120507" y="2573996"/>
                </a:lnTo>
                <a:lnTo>
                  <a:pt x="7145907" y="2611152"/>
                </a:lnTo>
                <a:lnTo>
                  <a:pt x="7027558" y="2720762"/>
                </a:lnTo>
                <a:cubicBezTo>
                  <a:pt x="5430756" y="3075167"/>
                  <a:pt x="1269868" y="4360223"/>
                  <a:pt x="39556" y="4987286"/>
                </a:cubicBezTo>
                <a:lnTo>
                  <a:pt x="0" y="500948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3ADD7">
                  <a:alpha val="0"/>
                </a:srgbClr>
              </a:gs>
              <a:gs pos="99474">
                <a:srgbClr val="43ADD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C0E7F1-BF9D-7F0C-8641-52A0E11A04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-1513070" y="2453742"/>
            <a:ext cx="4181955" cy="485890"/>
          </a:xfrm>
        </p:spPr>
        <p:txBody>
          <a:bodyPr wrap="square" lIns="0" tIns="0" rIns="0" bIns="0" anchor="ctr">
            <a:noAutofit/>
          </a:bodyPr>
          <a:lstStyle/>
          <a:p>
            <a:pPr marL="0" indent="0" algn="ctr">
              <a:buNone/>
            </a:pPr>
            <a:r>
              <a:rPr lang="en-US" sz="2000" b="1" dirty="0"/>
              <a:t>Mapp Submissions To EPS</a:t>
            </a:r>
          </a:p>
        </p:txBody>
      </p:sp>
      <p:pic>
        <p:nvPicPr>
          <p:cNvPr id="59" name="Graphic 58" descr="Single gear with solid fill">
            <a:extLst>
              <a:ext uri="{FF2B5EF4-FFF2-40B4-BE49-F238E27FC236}">
                <a16:creationId xmlns:a16="http://schemas.microsoft.com/office/drawing/2014/main" id="{A2A81558-F7EB-D40F-3911-5712CC87A1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71385" y="2725955"/>
            <a:ext cx="2426814" cy="2426814"/>
          </a:xfrm>
          <a:prstGeom prst="rect">
            <a:avLst/>
          </a:prstGeom>
        </p:spPr>
      </p:pic>
      <p:pic>
        <p:nvPicPr>
          <p:cNvPr id="58" name="Graphic 57" descr="Single gear with solid fill">
            <a:extLst>
              <a:ext uri="{FF2B5EF4-FFF2-40B4-BE49-F238E27FC236}">
                <a16:creationId xmlns:a16="http://schemas.microsoft.com/office/drawing/2014/main" id="{701A4F49-A116-9305-DFDD-23D8B5DEEF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71385" y="388310"/>
            <a:ext cx="2426814" cy="2426814"/>
          </a:xfrm>
          <a:prstGeom prst="rect">
            <a:avLst/>
          </a:prstGeom>
        </p:spPr>
      </p:pic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606772C7-5BC3-5A72-D191-DF1AA2F9A0F0}"/>
              </a:ext>
            </a:extLst>
          </p:cNvPr>
          <p:cNvSpPr/>
          <p:nvPr/>
        </p:nvSpPr>
        <p:spPr>
          <a:xfrm flipH="1">
            <a:off x="2692400" y="4902200"/>
            <a:ext cx="9499600" cy="1955800"/>
          </a:xfrm>
          <a:prstGeom prst="round1Rect">
            <a:avLst>
              <a:gd name="adj" fmla="val 25553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1650">
              <a:spcBef>
                <a:spcPct val="0"/>
              </a:spcBef>
            </a:pPr>
            <a:r>
              <a:rPr lang="en-IE" sz="32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HE ECOSYSTEM OF ENGAGEMENT 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805A084-0B32-0FF3-FB27-6A4646429EB5}"/>
              </a:ext>
            </a:extLst>
          </p:cNvPr>
          <p:cNvSpPr/>
          <p:nvPr/>
        </p:nvSpPr>
        <p:spPr>
          <a:xfrm rot="5400000" flipV="1">
            <a:off x="603895" y="5478405"/>
            <a:ext cx="664552" cy="1872343"/>
          </a:xfrm>
          <a:custGeom>
            <a:avLst/>
            <a:gdLst>
              <a:gd name="connsiteX0" fmla="*/ 693711 w 1298190"/>
              <a:gd name="connsiteY0" fmla="*/ 48 h 3657590"/>
              <a:gd name="connsiteX1" fmla="*/ 681011 w 1298190"/>
              <a:gd name="connsiteY1" fmla="*/ 48 h 3657590"/>
              <a:gd name="connsiteX2" fmla="*/ 681011 w 1298190"/>
              <a:gd name="connsiteY2" fmla="*/ 660902 h 3657590"/>
              <a:gd name="connsiteX3" fmla="*/ 679690 w 1298190"/>
              <a:gd name="connsiteY3" fmla="*/ 665095 h 3657590"/>
              <a:gd name="connsiteX4" fmla="*/ 678077 w 1298190"/>
              <a:gd name="connsiteY4" fmla="*/ 669818 h 3657590"/>
              <a:gd name="connsiteX5" fmla="*/ 676401 w 1298190"/>
              <a:gd name="connsiteY5" fmla="*/ 674352 h 3657590"/>
              <a:gd name="connsiteX6" fmla="*/ 674699 w 1298190"/>
              <a:gd name="connsiteY6" fmla="*/ 678682 h 3657590"/>
              <a:gd name="connsiteX7" fmla="*/ 672959 w 1298190"/>
              <a:gd name="connsiteY7" fmla="*/ 682835 h 3657590"/>
              <a:gd name="connsiteX8" fmla="*/ 671194 w 1298190"/>
              <a:gd name="connsiteY8" fmla="*/ 686824 h 3657590"/>
              <a:gd name="connsiteX9" fmla="*/ 669403 w 1298190"/>
              <a:gd name="connsiteY9" fmla="*/ 690648 h 3657590"/>
              <a:gd name="connsiteX10" fmla="*/ 667613 w 1298190"/>
              <a:gd name="connsiteY10" fmla="*/ 694289 h 3657590"/>
              <a:gd name="connsiteX11" fmla="*/ 665797 w 1298190"/>
              <a:gd name="connsiteY11" fmla="*/ 697797 h 3657590"/>
              <a:gd name="connsiteX12" fmla="*/ 663980 w 1298190"/>
              <a:gd name="connsiteY12" fmla="*/ 701151 h 3657590"/>
              <a:gd name="connsiteX13" fmla="*/ 662152 w 1298190"/>
              <a:gd name="connsiteY13" fmla="*/ 704376 h 3657590"/>
              <a:gd name="connsiteX14" fmla="*/ 660310 w 1298190"/>
              <a:gd name="connsiteY14" fmla="*/ 707476 h 3657590"/>
              <a:gd name="connsiteX15" fmla="*/ 658469 w 1298190"/>
              <a:gd name="connsiteY15" fmla="*/ 710432 h 3657590"/>
              <a:gd name="connsiteX16" fmla="*/ 656614 w 1298190"/>
              <a:gd name="connsiteY16" fmla="*/ 713281 h 3657590"/>
              <a:gd name="connsiteX17" fmla="*/ 654760 w 1298190"/>
              <a:gd name="connsiteY17" fmla="*/ 715993 h 3657590"/>
              <a:gd name="connsiteX18" fmla="*/ 652906 w 1298190"/>
              <a:gd name="connsiteY18" fmla="*/ 718598 h 3657590"/>
              <a:gd name="connsiteX19" fmla="*/ 651039 w 1298190"/>
              <a:gd name="connsiteY19" fmla="*/ 721089 h 3657590"/>
              <a:gd name="connsiteX20" fmla="*/ 649172 w 1298190"/>
              <a:gd name="connsiteY20" fmla="*/ 723465 h 3657590"/>
              <a:gd name="connsiteX21" fmla="*/ 647305 w 1298190"/>
              <a:gd name="connsiteY21" fmla="*/ 725722 h 3657590"/>
              <a:gd name="connsiteX22" fmla="*/ 645426 w 1298190"/>
              <a:gd name="connsiteY22" fmla="*/ 727886 h 3657590"/>
              <a:gd name="connsiteX23" fmla="*/ 643533 w 1298190"/>
              <a:gd name="connsiteY23" fmla="*/ 729939 h 3657590"/>
              <a:gd name="connsiteX24" fmla="*/ 612863 w 1298190"/>
              <a:gd name="connsiteY24" fmla="*/ 746936 h 3657590"/>
              <a:gd name="connsiteX25" fmla="*/ 553097 w 1298190"/>
              <a:gd name="connsiteY25" fmla="*/ 653094 h 3657590"/>
              <a:gd name="connsiteX26" fmla="*/ 552056 w 1298190"/>
              <a:gd name="connsiteY26" fmla="*/ 647543 h 3657590"/>
              <a:gd name="connsiteX27" fmla="*/ 546430 w 1298190"/>
              <a:gd name="connsiteY27" fmla="*/ 647910 h 3657590"/>
              <a:gd name="connsiteX28" fmla="*/ 385826 w 1298190"/>
              <a:gd name="connsiteY28" fmla="*/ 681580 h 3657590"/>
              <a:gd name="connsiteX29" fmla="*/ 384772 w 1298190"/>
              <a:gd name="connsiteY29" fmla="*/ 681961 h 3657590"/>
              <a:gd name="connsiteX30" fmla="*/ 382968 w 1298190"/>
              <a:gd name="connsiteY30" fmla="*/ 682607 h 3657590"/>
              <a:gd name="connsiteX31" fmla="*/ 380504 w 1298190"/>
              <a:gd name="connsiteY31" fmla="*/ 683510 h 3657590"/>
              <a:gd name="connsiteX32" fmla="*/ 381660 w 1298190"/>
              <a:gd name="connsiteY32" fmla="*/ 688402 h 3657590"/>
              <a:gd name="connsiteX33" fmla="*/ 381800 w 1298190"/>
              <a:gd name="connsiteY33" fmla="*/ 689021 h 3657590"/>
              <a:gd name="connsiteX34" fmla="*/ 383438 w 1298190"/>
              <a:gd name="connsiteY34" fmla="*/ 696542 h 3657590"/>
              <a:gd name="connsiteX35" fmla="*/ 384784 w 1298190"/>
              <a:gd name="connsiteY35" fmla="*/ 704058 h 3657590"/>
              <a:gd name="connsiteX36" fmla="*/ 385788 w 1298190"/>
              <a:gd name="connsiteY36" fmla="*/ 711067 h 3657590"/>
              <a:gd name="connsiteX37" fmla="*/ 386511 w 1298190"/>
              <a:gd name="connsiteY37" fmla="*/ 717661 h 3657590"/>
              <a:gd name="connsiteX38" fmla="*/ 387007 w 1298190"/>
              <a:gd name="connsiteY38" fmla="*/ 723907 h 3657590"/>
              <a:gd name="connsiteX39" fmla="*/ 387299 w 1298190"/>
              <a:gd name="connsiteY39" fmla="*/ 729825 h 3657590"/>
              <a:gd name="connsiteX40" fmla="*/ 387413 w 1298190"/>
              <a:gd name="connsiteY40" fmla="*/ 735480 h 3657590"/>
              <a:gd name="connsiteX41" fmla="*/ 387362 w 1298190"/>
              <a:gd name="connsiteY41" fmla="*/ 740849 h 3657590"/>
              <a:gd name="connsiteX42" fmla="*/ 387172 w 1298190"/>
              <a:gd name="connsiteY42" fmla="*/ 745968 h 3657590"/>
              <a:gd name="connsiteX43" fmla="*/ 386816 w 1298190"/>
              <a:gd name="connsiteY43" fmla="*/ 750845 h 3657590"/>
              <a:gd name="connsiteX44" fmla="*/ 386346 w 1298190"/>
              <a:gd name="connsiteY44" fmla="*/ 755493 h 3657590"/>
              <a:gd name="connsiteX45" fmla="*/ 385737 w 1298190"/>
              <a:gd name="connsiteY45" fmla="*/ 759923 h 3657590"/>
              <a:gd name="connsiteX46" fmla="*/ 385000 w 1298190"/>
              <a:gd name="connsiteY46" fmla="*/ 764130 h 3657590"/>
              <a:gd name="connsiteX47" fmla="*/ 384149 w 1298190"/>
              <a:gd name="connsiteY47" fmla="*/ 768128 h 3657590"/>
              <a:gd name="connsiteX48" fmla="*/ 383184 w 1298190"/>
              <a:gd name="connsiteY48" fmla="*/ 771914 h 3657590"/>
              <a:gd name="connsiteX49" fmla="*/ 382105 w 1298190"/>
              <a:gd name="connsiteY49" fmla="*/ 775485 h 3657590"/>
              <a:gd name="connsiteX50" fmla="*/ 380898 w 1298190"/>
              <a:gd name="connsiteY50" fmla="*/ 778834 h 3657590"/>
              <a:gd name="connsiteX51" fmla="*/ 379590 w 1298190"/>
              <a:gd name="connsiteY51" fmla="*/ 781984 h 3657590"/>
              <a:gd name="connsiteX52" fmla="*/ 378168 w 1298190"/>
              <a:gd name="connsiteY52" fmla="*/ 784906 h 3657590"/>
              <a:gd name="connsiteX53" fmla="*/ 376631 w 1298190"/>
              <a:gd name="connsiteY53" fmla="*/ 787600 h 3657590"/>
              <a:gd name="connsiteX54" fmla="*/ 374993 w 1298190"/>
              <a:gd name="connsiteY54" fmla="*/ 790075 h 3657590"/>
              <a:gd name="connsiteX55" fmla="*/ 373253 w 1298190"/>
              <a:gd name="connsiteY55" fmla="*/ 792313 h 3657590"/>
              <a:gd name="connsiteX56" fmla="*/ 365976 w 1298190"/>
              <a:gd name="connsiteY56" fmla="*/ 798519 h 3657590"/>
              <a:gd name="connsiteX57" fmla="*/ 352171 w 1298190"/>
              <a:gd name="connsiteY57" fmla="*/ 801952 h 3657590"/>
              <a:gd name="connsiteX58" fmla="*/ 267272 w 1298190"/>
              <a:gd name="connsiteY58" fmla="*/ 747149 h 3657590"/>
              <a:gd name="connsiteX59" fmla="*/ 263601 w 1298190"/>
              <a:gd name="connsiteY59" fmla="*/ 742867 h 3657590"/>
              <a:gd name="connsiteX60" fmla="*/ 258915 w 1298190"/>
              <a:gd name="connsiteY60" fmla="*/ 746017 h 3657590"/>
              <a:gd name="connsiteX61" fmla="*/ 172365 w 1298190"/>
              <a:gd name="connsiteY61" fmla="*/ 816948 h 3657590"/>
              <a:gd name="connsiteX62" fmla="*/ 136792 w 1298190"/>
              <a:gd name="connsiteY62" fmla="*/ 855555 h 3657590"/>
              <a:gd name="connsiteX63" fmla="*/ 133147 w 1298190"/>
              <a:gd name="connsiteY63" fmla="*/ 859875 h 3657590"/>
              <a:gd name="connsiteX64" fmla="*/ 137033 w 1298190"/>
              <a:gd name="connsiteY64" fmla="*/ 864003 h 3657590"/>
              <a:gd name="connsiteX65" fmla="*/ 151041 w 1298190"/>
              <a:gd name="connsiteY65" fmla="*/ 880523 h 3657590"/>
              <a:gd name="connsiteX66" fmla="*/ 154940 w 1298190"/>
              <a:gd name="connsiteY66" fmla="*/ 885806 h 3657590"/>
              <a:gd name="connsiteX67" fmla="*/ 159322 w 1298190"/>
              <a:gd name="connsiteY67" fmla="*/ 892181 h 3657590"/>
              <a:gd name="connsiteX68" fmla="*/ 163056 w 1298190"/>
              <a:gd name="connsiteY68" fmla="*/ 898050 h 3657590"/>
              <a:gd name="connsiteX69" fmla="*/ 166269 w 1298190"/>
              <a:gd name="connsiteY69" fmla="*/ 903521 h 3657590"/>
              <a:gd name="connsiteX70" fmla="*/ 169075 w 1298190"/>
              <a:gd name="connsiteY70" fmla="*/ 908666 h 3657590"/>
              <a:gd name="connsiteX71" fmla="*/ 171514 w 1298190"/>
              <a:gd name="connsiteY71" fmla="*/ 913543 h 3657590"/>
              <a:gd name="connsiteX72" fmla="*/ 173647 w 1298190"/>
              <a:gd name="connsiteY72" fmla="*/ 918191 h 3657590"/>
              <a:gd name="connsiteX73" fmla="*/ 175489 w 1298190"/>
              <a:gd name="connsiteY73" fmla="*/ 922626 h 3657590"/>
              <a:gd name="connsiteX74" fmla="*/ 177076 w 1298190"/>
              <a:gd name="connsiteY74" fmla="*/ 926854 h 3657590"/>
              <a:gd name="connsiteX75" fmla="*/ 178410 w 1298190"/>
              <a:gd name="connsiteY75" fmla="*/ 930906 h 3657590"/>
              <a:gd name="connsiteX76" fmla="*/ 179502 w 1298190"/>
              <a:gd name="connsiteY76" fmla="*/ 934791 h 3657590"/>
              <a:gd name="connsiteX77" fmla="*/ 180378 w 1298190"/>
              <a:gd name="connsiteY77" fmla="*/ 938511 h 3657590"/>
              <a:gd name="connsiteX78" fmla="*/ 181039 w 1298190"/>
              <a:gd name="connsiteY78" fmla="*/ 942083 h 3657590"/>
              <a:gd name="connsiteX79" fmla="*/ 181483 w 1298190"/>
              <a:gd name="connsiteY79" fmla="*/ 945486 h 3657590"/>
              <a:gd name="connsiteX80" fmla="*/ 181712 w 1298190"/>
              <a:gd name="connsiteY80" fmla="*/ 948751 h 3657590"/>
              <a:gd name="connsiteX81" fmla="*/ 181737 w 1298190"/>
              <a:gd name="connsiteY81" fmla="*/ 951861 h 3657590"/>
              <a:gd name="connsiteX82" fmla="*/ 181559 w 1298190"/>
              <a:gd name="connsiteY82" fmla="*/ 954833 h 3657590"/>
              <a:gd name="connsiteX83" fmla="*/ 181178 w 1298190"/>
              <a:gd name="connsiteY83" fmla="*/ 957665 h 3657590"/>
              <a:gd name="connsiteX84" fmla="*/ 180581 w 1298190"/>
              <a:gd name="connsiteY84" fmla="*/ 960345 h 3657590"/>
              <a:gd name="connsiteX85" fmla="*/ 179769 w 1298190"/>
              <a:gd name="connsiteY85" fmla="*/ 962869 h 3657590"/>
              <a:gd name="connsiteX86" fmla="*/ 178740 w 1298190"/>
              <a:gd name="connsiteY86" fmla="*/ 965246 h 3657590"/>
              <a:gd name="connsiteX87" fmla="*/ 177991 w 1298190"/>
              <a:gd name="connsiteY87" fmla="*/ 966654 h 3657590"/>
              <a:gd name="connsiteX88" fmla="*/ 177495 w 1298190"/>
              <a:gd name="connsiteY88" fmla="*/ 967468 h 3657590"/>
              <a:gd name="connsiteX89" fmla="*/ 175997 w 1298190"/>
              <a:gd name="connsiteY89" fmla="*/ 969552 h 3657590"/>
              <a:gd name="connsiteX90" fmla="*/ 132106 w 1298190"/>
              <a:gd name="connsiteY90" fmla="*/ 983586 h 3657590"/>
              <a:gd name="connsiteX91" fmla="*/ 66777 w 1298190"/>
              <a:gd name="connsiteY91" fmla="*/ 971481 h 3657590"/>
              <a:gd name="connsiteX92" fmla="*/ 63069 w 1298190"/>
              <a:gd name="connsiteY92" fmla="*/ 970172 h 3657590"/>
              <a:gd name="connsiteX93" fmla="*/ 61456 w 1298190"/>
              <a:gd name="connsiteY93" fmla="*/ 969602 h 3657590"/>
              <a:gd name="connsiteX94" fmla="*/ 58967 w 1298190"/>
              <a:gd name="connsiteY94" fmla="*/ 974672 h 3657590"/>
              <a:gd name="connsiteX95" fmla="*/ 7938 w 1298190"/>
              <a:gd name="connsiteY95" fmla="*/ 1130637 h 3657590"/>
              <a:gd name="connsiteX96" fmla="*/ 6948 w 1298190"/>
              <a:gd name="connsiteY96" fmla="*/ 1136199 h 3657590"/>
              <a:gd name="connsiteX97" fmla="*/ 12370 w 1298190"/>
              <a:gd name="connsiteY97" fmla="*/ 1137827 h 3657590"/>
              <a:gd name="connsiteX98" fmla="*/ 87122 w 1298190"/>
              <a:gd name="connsiteY98" fmla="*/ 1180560 h 3657590"/>
              <a:gd name="connsiteX99" fmla="*/ 89383 w 1298190"/>
              <a:gd name="connsiteY99" fmla="*/ 1183188 h 3657590"/>
              <a:gd name="connsiteX100" fmla="*/ 91377 w 1298190"/>
              <a:gd name="connsiteY100" fmla="*/ 1185754 h 3657590"/>
              <a:gd name="connsiteX101" fmla="*/ 93104 w 1298190"/>
              <a:gd name="connsiteY101" fmla="*/ 1188229 h 3657590"/>
              <a:gd name="connsiteX102" fmla="*/ 94577 w 1298190"/>
              <a:gd name="connsiteY102" fmla="*/ 1190621 h 3657590"/>
              <a:gd name="connsiteX103" fmla="*/ 95822 w 1298190"/>
              <a:gd name="connsiteY103" fmla="*/ 1192942 h 3657590"/>
              <a:gd name="connsiteX104" fmla="*/ 96863 w 1298190"/>
              <a:gd name="connsiteY104" fmla="*/ 1195219 h 3657590"/>
              <a:gd name="connsiteX105" fmla="*/ 97701 w 1298190"/>
              <a:gd name="connsiteY105" fmla="*/ 1197426 h 3657590"/>
              <a:gd name="connsiteX106" fmla="*/ 98349 w 1298190"/>
              <a:gd name="connsiteY106" fmla="*/ 1199586 h 3657590"/>
              <a:gd name="connsiteX107" fmla="*/ 98819 w 1298190"/>
              <a:gd name="connsiteY107" fmla="*/ 1201708 h 3657590"/>
              <a:gd name="connsiteX108" fmla="*/ 99124 w 1298190"/>
              <a:gd name="connsiteY108" fmla="*/ 1203802 h 3657590"/>
              <a:gd name="connsiteX109" fmla="*/ 99238 w 1298190"/>
              <a:gd name="connsiteY109" fmla="*/ 1205845 h 3657590"/>
              <a:gd name="connsiteX110" fmla="*/ 99238 w 1298190"/>
              <a:gd name="connsiteY110" fmla="*/ 1206277 h 3657590"/>
              <a:gd name="connsiteX111" fmla="*/ 99187 w 1298190"/>
              <a:gd name="connsiteY111" fmla="*/ 1207880 h 3657590"/>
              <a:gd name="connsiteX112" fmla="*/ 98946 w 1298190"/>
              <a:gd name="connsiteY112" fmla="*/ 1209884 h 3657590"/>
              <a:gd name="connsiteX113" fmla="*/ 98540 w 1298190"/>
              <a:gd name="connsiteY113" fmla="*/ 1211868 h 3657590"/>
              <a:gd name="connsiteX114" fmla="*/ 97968 w 1298190"/>
              <a:gd name="connsiteY114" fmla="*/ 1213847 h 3657590"/>
              <a:gd name="connsiteX115" fmla="*/ 97232 w 1298190"/>
              <a:gd name="connsiteY115" fmla="*/ 1215802 h 3657590"/>
              <a:gd name="connsiteX116" fmla="*/ 96330 w 1298190"/>
              <a:gd name="connsiteY116" fmla="*/ 1217757 h 3657590"/>
              <a:gd name="connsiteX117" fmla="*/ 95276 w 1298190"/>
              <a:gd name="connsiteY117" fmla="*/ 1219692 h 3657590"/>
              <a:gd name="connsiteX118" fmla="*/ 94082 w 1298190"/>
              <a:gd name="connsiteY118" fmla="*/ 1221606 h 3657590"/>
              <a:gd name="connsiteX119" fmla="*/ 92710 w 1298190"/>
              <a:gd name="connsiteY119" fmla="*/ 1223526 h 3657590"/>
              <a:gd name="connsiteX120" fmla="*/ 91225 w 1298190"/>
              <a:gd name="connsiteY120" fmla="*/ 1225416 h 3657590"/>
              <a:gd name="connsiteX121" fmla="*/ 89586 w 1298190"/>
              <a:gd name="connsiteY121" fmla="*/ 1227282 h 3657590"/>
              <a:gd name="connsiteX122" fmla="*/ 5436 w 1298190"/>
              <a:gd name="connsiteY122" fmla="*/ 1266016 h 3657590"/>
              <a:gd name="connsiteX123" fmla="*/ 3836 w 1298190"/>
              <a:gd name="connsiteY123" fmla="*/ 1266310 h 3657590"/>
              <a:gd name="connsiteX124" fmla="*/ -126 w 1298190"/>
              <a:gd name="connsiteY124" fmla="*/ 1267049 h 3657590"/>
              <a:gd name="connsiteX125" fmla="*/ 242 w 1298190"/>
              <a:gd name="connsiteY125" fmla="*/ 1272686 h 3657590"/>
              <a:gd name="connsiteX126" fmla="*/ 33922 w 1298190"/>
              <a:gd name="connsiteY126" fmla="*/ 1433290 h 3657590"/>
              <a:gd name="connsiteX127" fmla="*/ 35840 w 1298190"/>
              <a:gd name="connsiteY127" fmla="*/ 1438612 h 3657590"/>
              <a:gd name="connsiteX128" fmla="*/ 41352 w 1298190"/>
              <a:gd name="connsiteY128" fmla="*/ 1437303 h 3657590"/>
              <a:gd name="connsiteX129" fmla="*/ 88761 w 1298190"/>
              <a:gd name="connsiteY129" fmla="*/ 1431703 h 3657590"/>
              <a:gd name="connsiteX130" fmla="*/ 150864 w 1298190"/>
              <a:gd name="connsiteY130" fmla="*/ 1453128 h 3657590"/>
              <a:gd name="connsiteX131" fmla="*/ 126607 w 1298190"/>
              <a:gd name="connsiteY131" fmla="*/ 1524336 h 3657590"/>
              <a:gd name="connsiteX132" fmla="*/ 125400 w 1298190"/>
              <a:gd name="connsiteY132" fmla="*/ 1525771 h 3657590"/>
              <a:gd name="connsiteX133" fmla="*/ 124994 w 1298190"/>
              <a:gd name="connsiteY133" fmla="*/ 1526254 h 3657590"/>
              <a:gd name="connsiteX134" fmla="*/ 123279 w 1298190"/>
              <a:gd name="connsiteY134" fmla="*/ 1528261 h 3657590"/>
              <a:gd name="connsiteX135" fmla="*/ 121539 w 1298190"/>
              <a:gd name="connsiteY135" fmla="*/ 1530229 h 3657590"/>
              <a:gd name="connsiteX136" fmla="*/ 119749 w 1298190"/>
              <a:gd name="connsiteY136" fmla="*/ 1532223 h 3657590"/>
              <a:gd name="connsiteX137" fmla="*/ 117971 w 1298190"/>
              <a:gd name="connsiteY137" fmla="*/ 1534141 h 3657590"/>
              <a:gd name="connsiteX138" fmla="*/ 116116 w 1298190"/>
              <a:gd name="connsiteY138" fmla="*/ 1536109 h 3657590"/>
              <a:gd name="connsiteX139" fmla="*/ 114250 w 1298190"/>
              <a:gd name="connsiteY139" fmla="*/ 1538052 h 3657590"/>
              <a:gd name="connsiteX140" fmla="*/ 99492 w 1298190"/>
              <a:gd name="connsiteY140" fmla="*/ 1551870 h 3657590"/>
              <a:gd name="connsiteX141" fmla="*/ 99187 w 1298190"/>
              <a:gd name="connsiteY141" fmla="*/ 1552124 h 3657590"/>
              <a:gd name="connsiteX142" fmla="*/ 95200 w 1298190"/>
              <a:gd name="connsiteY142" fmla="*/ 1555540 h 3657590"/>
              <a:gd name="connsiteX143" fmla="*/ 98349 w 1298190"/>
              <a:gd name="connsiteY143" fmla="*/ 1560226 h 3657590"/>
              <a:gd name="connsiteX144" fmla="*/ 207899 w 1298190"/>
              <a:gd name="connsiteY144" fmla="*/ 1682311 h 3657590"/>
              <a:gd name="connsiteX145" fmla="*/ 212217 w 1298190"/>
              <a:gd name="connsiteY145" fmla="*/ 1685956 h 3657590"/>
              <a:gd name="connsiteX146" fmla="*/ 216332 w 1298190"/>
              <a:gd name="connsiteY146" fmla="*/ 1682083 h 3657590"/>
              <a:gd name="connsiteX147" fmla="*/ 303085 w 1298190"/>
              <a:gd name="connsiteY147" fmla="*/ 1637341 h 3657590"/>
              <a:gd name="connsiteX148" fmla="*/ 318998 w 1298190"/>
              <a:gd name="connsiteY148" fmla="*/ 1641113 h 3657590"/>
              <a:gd name="connsiteX149" fmla="*/ 323786 w 1298190"/>
              <a:gd name="connsiteY149" fmla="*/ 1752352 h 3657590"/>
              <a:gd name="connsiteX150" fmla="*/ 321907 w 1298190"/>
              <a:gd name="connsiteY150" fmla="*/ 1757686 h 3657590"/>
              <a:gd name="connsiteX151" fmla="*/ 326974 w 1298190"/>
              <a:gd name="connsiteY151" fmla="*/ 1760175 h 3657590"/>
              <a:gd name="connsiteX152" fmla="*/ 482968 w 1298190"/>
              <a:gd name="connsiteY152" fmla="*/ 1811203 h 3657590"/>
              <a:gd name="connsiteX153" fmla="*/ 488543 w 1298190"/>
              <a:gd name="connsiteY153" fmla="*/ 1812181 h 3657590"/>
              <a:gd name="connsiteX154" fmla="*/ 489800 w 1298190"/>
              <a:gd name="connsiteY154" fmla="*/ 1807990 h 3657590"/>
              <a:gd name="connsiteX155" fmla="*/ 490169 w 1298190"/>
              <a:gd name="connsiteY155" fmla="*/ 1806771 h 3657590"/>
              <a:gd name="connsiteX156" fmla="*/ 531647 w 1298190"/>
              <a:gd name="connsiteY156" fmla="*/ 1733124 h 3657590"/>
              <a:gd name="connsiteX157" fmla="*/ 533526 w 1298190"/>
              <a:gd name="connsiteY157" fmla="*/ 1731409 h 3657590"/>
              <a:gd name="connsiteX158" fmla="*/ 535406 w 1298190"/>
              <a:gd name="connsiteY158" fmla="*/ 1729822 h 3657590"/>
              <a:gd name="connsiteX159" fmla="*/ 537286 w 1298190"/>
              <a:gd name="connsiteY159" fmla="*/ 1728323 h 3657590"/>
              <a:gd name="connsiteX160" fmla="*/ 539178 w 1298190"/>
              <a:gd name="connsiteY160" fmla="*/ 1726952 h 3657590"/>
              <a:gd name="connsiteX161" fmla="*/ 541057 w 1298190"/>
              <a:gd name="connsiteY161" fmla="*/ 1725682 h 3657590"/>
              <a:gd name="connsiteX162" fmla="*/ 542962 w 1298190"/>
              <a:gd name="connsiteY162" fmla="*/ 1724539 h 3657590"/>
              <a:gd name="connsiteX163" fmla="*/ 544855 w 1298190"/>
              <a:gd name="connsiteY163" fmla="*/ 1723497 h 3657590"/>
              <a:gd name="connsiteX164" fmla="*/ 546760 w 1298190"/>
              <a:gd name="connsiteY164" fmla="*/ 1722583 h 3657590"/>
              <a:gd name="connsiteX165" fmla="*/ 548665 w 1298190"/>
              <a:gd name="connsiteY165" fmla="*/ 1721795 h 3657590"/>
              <a:gd name="connsiteX166" fmla="*/ 550582 w 1298190"/>
              <a:gd name="connsiteY166" fmla="*/ 1721135 h 3657590"/>
              <a:gd name="connsiteX167" fmla="*/ 552500 w 1298190"/>
              <a:gd name="connsiteY167" fmla="*/ 1720602 h 3657590"/>
              <a:gd name="connsiteX168" fmla="*/ 554443 w 1298190"/>
              <a:gd name="connsiteY168" fmla="*/ 1720208 h 3657590"/>
              <a:gd name="connsiteX169" fmla="*/ 556374 w 1298190"/>
              <a:gd name="connsiteY169" fmla="*/ 1719967 h 3657590"/>
              <a:gd name="connsiteX170" fmla="*/ 558329 w 1298190"/>
              <a:gd name="connsiteY170" fmla="*/ 1719865 h 3657590"/>
              <a:gd name="connsiteX171" fmla="*/ 558583 w 1298190"/>
              <a:gd name="connsiteY171" fmla="*/ 1719865 h 3657590"/>
              <a:gd name="connsiteX172" fmla="*/ 560298 w 1298190"/>
              <a:gd name="connsiteY172" fmla="*/ 1719929 h 3657590"/>
              <a:gd name="connsiteX173" fmla="*/ 562279 w 1298190"/>
              <a:gd name="connsiteY173" fmla="*/ 1720170 h 3657590"/>
              <a:gd name="connsiteX174" fmla="*/ 564286 w 1298190"/>
              <a:gd name="connsiteY174" fmla="*/ 1720589 h 3657590"/>
              <a:gd name="connsiteX175" fmla="*/ 566318 w 1298190"/>
              <a:gd name="connsiteY175" fmla="*/ 1721186 h 3657590"/>
              <a:gd name="connsiteX176" fmla="*/ 568400 w 1298190"/>
              <a:gd name="connsiteY176" fmla="*/ 1721999 h 3657590"/>
              <a:gd name="connsiteX177" fmla="*/ 570521 w 1298190"/>
              <a:gd name="connsiteY177" fmla="*/ 1723002 h 3657590"/>
              <a:gd name="connsiteX178" fmla="*/ 572706 w 1298190"/>
              <a:gd name="connsiteY178" fmla="*/ 1724247 h 3657590"/>
              <a:gd name="connsiteX179" fmla="*/ 574903 w 1298190"/>
              <a:gd name="connsiteY179" fmla="*/ 1725707 h 3657590"/>
              <a:gd name="connsiteX180" fmla="*/ 618349 w 1298190"/>
              <a:gd name="connsiteY180" fmla="*/ 1813705 h 3657590"/>
              <a:gd name="connsiteX181" fmla="*/ 619378 w 1298190"/>
              <a:gd name="connsiteY181" fmla="*/ 1819255 h 3657590"/>
              <a:gd name="connsiteX182" fmla="*/ 625017 w 1298190"/>
              <a:gd name="connsiteY182" fmla="*/ 1818887 h 3657590"/>
              <a:gd name="connsiteX183" fmla="*/ 785621 w 1298190"/>
              <a:gd name="connsiteY183" fmla="*/ 1785257 h 3657590"/>
              <a:gd name="connsiteX184" fmla="*/ 790942 w 1298190"/>
              <a:gd name="connsiteY184" fmla="*/ 1783327 h 3657590"/>
              <a:gd name="connsiteX185" fmla="*/ 790421 w 1298190"/>
              <a:gd name="connsiteY185" fmla="*/ 1781130 h 3657590"/>
              <a:gd name="connsiteX186" fmla="*/ 789647 w 1298190"/>
              <a:gd name="connsiteY186" fmla="*/ 1777828 h 3657590"/>
              <a:gd name="connsiteX187" fmla="*/ 801927 w 1298190"/>
              <a:gd name="connsiteY187" fmla="*/ 1670742 h 3657590"/>
              <a:gd name="connsiteX188" fmla="*/ 803960 w 1298190"/>
              <a:gd name="connsiteY188" fmla="*/ 1669218 h 3657590"/>
              <a:gd name="connsiteX189" fmla="*/ 805471 w 1298190"/>
              <a:gd name="connsiteY189" fmla="*/ 1668278 h 3657590"/>
              <a:gd name="connsiteX190" fmla="*/ 806080 w 1298190"/>
              <a:gd name="connsiteY190" fmla="*/ 1667935 h 3657590"/>
              <a:gd name="connsiteX191" fmla="*/ 808303 w 1298190"/>
              <a:gd name="connsiteY191" fmla="*/ 1666881 h 3657590"/>
              <a:gd name="connsiteX192" fmla="*/ 810640 w 1298190"/>
              <a:gd name="connsiteY192" fmla="*/ 1666055 h 3657590"/>
              <a:gd name="connsiteX193" fmla="*/ 813078 w 1298190"/>
              <a:gd name="connsiteY193" fmla="*/ 1665446 h 3657590"/>
              <a:gd name="connsiteX194" fmla="*/ 815631 w 1298190"/>
              <a:gd name="connsiteY194" fmla="*/ 1665065 h 3657590"/>
              <a:gd name="connsiteX195" fmla="*/ 818298 w 1298190"/>
              <a:gd name="connsiteY195" fmla="*/ 1664887 h 3657590"/>
              <a:gd name="connsiteX196" fmla="*/ 819225 w 1298190"/>
              <a:gd name="connsiteY196" fmla="*/ 1664874 h 3657590"/>
              <a:gd name="connsiteX197" fmla="*/ 821079 w 1298190"/>
              <a:gd name="connsiteY197" fmla="*/ 1664912 h 3657590"/>
              <a:gd name="connsiteX198" fmla="*/ 823987 w 1298190"/>
              <a:gd name="connsiteY198" fmla="*/ 1665166 h 3657590"/>
              <a:gd name="connsiteX199" fmla="*/ 827010 w 1298190"/>
              <a:gd name="connsiteY199" fmla="*/ 1665623 h 3657590"/>
              <a:gd name="connsiteX200" fmla="*/ 830160 w 1298190"/>
              <a:gd name="connsiteY200" fmla="*/ 1666309 h 3657590"/>
              <a:gd name="connsiteX201" fmla="*/ 833436 w 1298190"/>
              <a:gd name="connsiteY201" fmla="*/ 1667211 h 3657590"/>
              <a:gd name="connsiteX202" fmla="*/ 836840 w 1298190"/>
              <a:gd name="connsiteY202" fmla="*/ 1668341 h 3657590"/>
              <a:gd name="connsiteX203" fmla="*/ 840396 w 1298190"/>
              <a:gd name="connsiteY203" fmla="*/ 1669700 h 3657590"/>
              <a:gd name="connsiteX204" fmla="*/ 844091 w 1298190"/>
              <a:gd name="connsiteY204" fmla="*/ 1671326 h 3657590"/>
              <a:gd name="connsiteX205" fmla="*/ 847965 w 1298190"/>
              <a:gd name="connsiteY205" fmla="*/ 1673205 h 3657590"/>
              <a:gd name="connsiteX206" fmla="*/ 852016 w 1298190"/>
              <a:gd name="connsiteY206" fmla="*/ 1675390 h 3657590"/>
              <a:gd name="connsiteX207" fmla="*/ 856245 w 1298190"/>
              <a:gd name="connsiteY207" fmla="*/ 1677866 h 3657590"/>
              <a:gd name="connsiteX208" fmla="*/ 860728 w 1298190"/>
              <a:gd name="connsiteY208" fmla="*/ 1680711 h 3657590"/>
              <a:gd name="connsiteX209" fmla="*/ 865478 w 1298190"/>
              <a:gd name="connsiteY209" fmla="*/ 1683962 h 3657590"/>
              <a:gd name="connsiteX210" fmla="*/ 870571 w 1298190"/>
              <a:gd name="connsiteY210" fmla="*/ 1687721 h 3657590"/>
              <a:gd name="connsiteX211" fmla="*/ 876108 w 1298190"/>
              <a:gd name="connsiteY211" fmla="*/ 1692103 h 3657590"/>
              <a:gd name="connsiteX212" fmla="*/ 878559 w 1298190"/>
              <a:gd name="connsiteY212" fmla="*/ 1694148 h 3657590"/>
              <a:gd name="connsiteX213" fmla="*/ 902664 w 1298190"/>
              <a:gd name="connsiteY213" fmla="*/ 1717935 h 3657590"/>
              <a:gd name="connsiteX214" fmla="*/ 903108 w 1298190"/>
              <a:gd name="connsiteY214" fmla="*/ 1770627 h 3657590"/>
              <a:gd name="connsiteX215" fmla="*/ 903108 w 1298190"/>
              <a:gd name="connsiteY215" fmla="*/ 1772100 h 3657590"/>
              <a:gd name="connsiteX216" fmla="*/ 903121 w 1298190"/>
              <a:gd name="connsiteY216" fmla="*/ 1772621 h 3657590"/>
              <a:gd name="connsiteX217" fmla="*/ 903121 w 1298190"/>
              <a:gd name="connsiteY217" fmla="*/ 1773230 h 3657590"/>
              <a:gd name="connsiteX218" fmla="*/ 903133 w 1298190"/>
              <a:gd name="connsiteY218" fmla="*/ 1773891 h 3657590"/>
              <a:gd name="connsiteX219" fmla="*/ 903133 w 1298190"/>
              <a:gd name="connsiteY219" fmla="*/ 1774627 h 3657590"/>
              <a:gd name="connsiteX220" fmla="*/ 903146 w 1298190"/>
              <a:gd name="connsiteY220" fmla="*/ 1775440 h 3657590"/>
              <a:gd name="connsiteX221" fmla="*/ 903146 w 1298190"/>
              <a:gd name="connsiteY221" fmla="*/ 1776304 h 3657590"/>
              <a:gd name="connsiteX222" fmla="*/ 903159 w 1298190"/>
              <a:gd name="connsiteY222" fmla="*/ 1777243 h 3657590"/>
              <a:gd name="connsiteX223" fmla="*/ 903159 w 1298190"/>
              <a:gd name="connsiteY223" fmla="*/ 1778247 h 3657590"/>
              <a:gd name="connsiteX224" fmla="*/ 903172 w 1298190"/>
              <a:gd name="connsiteY224" fmla="*/ 1779301 h 3657590"/>
              <a:gd name="connsiteX225" fmla="*/ 903184 w 1298190"/>
              <a:gd name="connsiteY225" fmla="*/ 1780418 h 3657590"/>
              <a:gd name="connsiteX226" fmla="*/ 903197 w 1298190"/>
              <a:gd name="connsiteY226" fmla="*/ 1781600 h 3657590"/>
              <a:gd name="connsiteX227" fmla="*/ 903197 w 1298190"/>
              <a:gd name="connsiteY227" fmla="*/ 1782819 h 3657590"/>
              <a:gd name="connsiteX228" fmla="*/ 903235 w 1298190"/>
              <a:gd name="connsiteY228" fmla="*/ 1786857 h 3657590"/>
              <a:gd name="connsiteX229" fmla="*/ 903299 w 1298190"/>
              <a:gd name="connsiteY229" fmla="*/ 1795062 h 3657590"/>
              <a:gd name="connsiteX230" fmla="*/ 903375 w 1298190"/>
              <a:gd name="connsiteY230" fmla="*/ 1803024 h 3657590"/>
              <a:gd name="connsiteX231" fmla="*/ 903438 w 1298190"/>
              <a:gd name="connsiteY231" fmla="*/ 1810759 h 3657590"/>
              <a:gd name="connsiteX232" fmla="*/ 903502 w 1298190"/>
              <a:gd name="connsiteY232" fmla="*/ 1818265 h 3657590"/>
              <a:gd name="connsiteX233" fmla="*/ 903553 w 1298190"/>
              <a:gd name="connsiteY233" fmla="*/ 1825554 h 3657590"/>
              <a:gd name="connsiteX234" fmla="*/ 903616 w 1298190"/>
              <a:gd name="connsiteY234" fmla="*/ 1832628 h 3657590"/>
              <a:gd name="connsiteX235" fmla="*/ 903629 w 1298190"/>
              <a:gd name="connsiteY235" fmla="*/ 1834558 h 3657590"/>
              <a:gd name="connsiteX236" fmla="*/ 903654 w 1298190"/>
              <a:gd name="connsiteY236" fmla="*/ 1839448 h 3657590"/>
              <a:gd name="connsiteX237" fmla="*/ 903629 w 1298190"/>
              <a:gd name="connsiteY237" fmla="*/ 1846001 h 3657590"/>
              <a:gd name="connsiteX238" fmla="*/ 903514 w 1298190"/>
              <a:gd name="connsiteY238" fmla="*/ 1852262 h 3657590"/>
              <a:gd name="connsiteX239" fmla="*/ 903311 w 1298190"/>
              <a:gd name="connsiteY239" fmla="*/ 1858231 h 3657590"/>
              <a:gd name="connsiteX240" fmla="*/ 903007 w 1298190"/>
              <a:gd name="connsiteY240" fmla="*/ 1863908 h 3657590"/>
              <a:gd name="connsiteX241" fmla="*/ 902587 w 1298190"/>
              <a:gd name="connsiteY241" fmla="*/ 1869267 h 3657590"/>
              <a:gd name="connsiteX242" fmla="*/ 902067 w 1298190"/>
              <a:gd name="connsiteY242" fmla="*/ 1874335 h 3657590"/>
              <a:gd name="connsiteX243" fmla="*/ 901419 w 1298190"/>
              <a:gd name="connsiteY243" fmla="*/ 1879084 h 3657590"/>
              <a:gd name="connsiteX244" fmla="*/ 900657 w 1298190"/>
              <a:gd name="connsiteY244" fmla="*/ 1883530 h 3657590"/>
              <a:gd name="connsiteX245" fmla="*/ 899781 w 1298190"/>
              <a:gd name="connsiteY245" fmla="*/ 1887670 h 3657590"/>
              <a:gd name="connsiteX246" fmla="*/ 898765 w 1298190"/>
              <a:gd name="connsiteY246" fmla="*/ 1891480 h 3657590"/>
              <a:gd name="connsiteX247" fmla="*/ 897622 w 1298190"/>
              <a:gd name="connsiteY247" fmla="*/ 1894959 h 3657590"/>
              <a:gd name="connsiteX248" fmla="*/ 896339 w 1298190"/>
              <a:gd name="connsiteY248" fmla="*/ 1898109 h 3657590"/>
              <a:gd name="connsiteX249" fmla="*/ 894904 w 1298190"/>
              <a:gd name="connsiteY249" fmla="*/ 1900941 h 3657590"/>
              <a:gd name="connsiteX250" fmla="*/ 893253 w 1298190"/>
              <a:gd name="connsiteY250" fmla="*/ 1903456 h 3657590"/>
              <a:gd name="connsiteX251" fmla="*/ 888490 w 1298190"/>
              <a:gd name="connsiteY251" fmla="*/ 1907863 h 3657590"/>
              <a:gd name="connsiteX252" fmla="*/ 879118 w 1298190"/>
              <a:gd name="connsiteY252" fmla="*/ 1910263 h 3657590"/>
              <a:gd name="connsiteX253" fmla="*/ 822806 w 1298190"/>
              <a:gd name="connsiteY253" fmla="*/ 1871922 h 3657590"/>
              <a:gd name="connsiteX254" fmla="*/ 819123 w 1298190"/>
              <a:gd name="connsiteY254" fmla="*/ 1867629 h 3657590"/>
              <a:gd name="connsiteX255" fmla="*/ 814437 w 1298190"/>
              <a:gd name="connsiteY255" fmla="*/ 1870779 h 3657590"/>
              <a:gd name="connsiteX256" fmla="*/ 751306 w 1298190"/>
              <a:gd name="connsiteY256" fmla="*/ 1922430 h 3657590"/>
              <a:gd name="connsiteX257" fmla="*/ 724623 w 1298190"/>
              <a:gd name="connsiteY257" fmla="*/ 1951360 h 3657590"/>
              <a:gd name="connsiteX258" fmla="*/ 720965 w 1298190"/>
              <a:gd name="connsiteY258" fmla="*/ 1955691 h 3657590"/>
              <a:gd name="connsiteX259" fmla="*/ 724851 w 1298190"/>
              <a:gd name="connsiteY259" fmla="*/ 1959806 h 3657590"/>
              <a:gd name="connsiteX260" fmla="*/ 733678 w 1298190"/>
              <a:gd name="connsiteY260" fmla="*/ 1970105 h 3657590"/>
              <a:gd name="connsiteX261" fmla="*/ 738707 w 1298190"/>
              <a:gd name="connsiteY261" fmla="*/ 1976938 h 3657590"/>
              <a:gd name="connsiteX262" fmla="*/ 742733 w 1298190"/>
              <a:gd name="connsiteY262" fmla="*/ 1983034 h 3657590"/>
              <a:gd name="connsiteX263" fmla="*/ 746010 w 1298190"/>
              <a:gd name="connsiteY263" fmla="*/ 1988546 h 3657590"/>
              <a:gd name="connsiteX264" fmla="*/ 748727 w 1298190"/>
              <a:gd name="connsiteY264" fmla="*/ 1993626 h 3657590"/>
              <a:gd name="connsiteX265" fmla="*/ 750975 w 1298190"/>
              <a:gd name="connsiteY265" fmla="*/ 1998363 h 3657590"/>
              <a:gd name="connsiteX266" fmla="*/ 752829 w 1298190"/>
              <a:gd name="connsiteY266" fmla="*/ 2002795 h 3657590"/>
              <a:gd name="connsiteX267" fmla="*/ 754328 w 1298190"/>
              <a:gd name="connsiteY267" fmla="*/ 2006960 h 3657590"/>
              <a:gd name="connsiteX268" fmla="*/ 755484 w 1298190"/>
              <a:gd name="connsiteY268" fmla="*/ 2010872 h 3657590"/>
              <a:gd name="connsiteX269" fmla="*/ 756335 w 1298190"/>
              <a:gd name="connsiteY269" fmla="*/ 2014568 h 3657590"/>
              <a:gd name="connsiteX270" fmla="*/ 756868 w 1298190"/>
              <a:gd name="connsiteY270" fmla="*/ 2018035 h 3657590"/>
              <a:gd name="connsiteX271" fmla="*/ 757122 w 1298190"/>
              <a:gd name="connsiteY271" fmla="*/ 2021286 h 3657590"/>
              <a:gd name="connsiteX272" fmla="*/ 757071 w 1298190"/>
              <a:gd name="connsiteY272" fmla="*/ 2024334 h 3657590"/>
              <a:gd name="connsiteX273" fmla="*/ 756716 w 1298190"/>
              <a:gd name="connsiteY273" fmla="*/ 2027154 h 3657590"/>
              <a:gd name="connsiteX274" fmla="*/ 756055 w 1298190"/>
              <a:gd name="connsiteY274" fmla="*/ 2029770 h 3657590"/>
              <a:gd name="connsiteX275" fmla="*/ 755077 w 1298190"/>
              <a:gd name="connsiteY275" fmla="*/ 2032170 h 3657590"/>
              <a:gd name="connsiteX276" fmla="*/ 754620 w 1298190"/>
              <a:gd name="connsiteY276" fmla="*/ 2033008 h 3657590"/>
              <a:gd name="connsiteX277" fmla="*/ 753744 w 1298190"/>
              <a:gd name="connsiteY277" fmla="*/ 2034354 h 3657590"/>
              <a:gd name="connsiteX278" fmla="*/ 722731 w 1298190"/>
              <a:gd name="connsiteY278" fmla="*/ 2044667 h 3657590"/>
              <a:gd name="connsiteX279" fmla="*/ 675182 w 1298190"/>
              <a:gd name="connsiteY279" fmla="*/ 2035789 h 3657590"/>
              <a:gd name="connsiteX280" fmla="*/ 671486 w 1298190"/>
              <a:gd name="connsiteY280" fmla="*/ 2034481 h 3657590"/>
              <a:gd name="connsiteX281" fmla="*/ 669860 w 1298190"/>
              <a:gd name="connsiteY281" fmla="*/ 2033897 h 3657590"/>
              <a:gd name="connsiteX282" fmla="*/ 667359 w 1298190"/>
              <a:gd name="connsiteY282" fmla="*/ 2038977 h 3657590"/>
              <a:gd name="connsiteX283" fmla="*/ 629830 w 1298190"/>
              <a:gd name="connsiteY283" fmla="*/ 2153709 h 3657590"/>
              <a:gd name="connsiteX284" fmla="*/ 628840 w 1298190"/>
              <a:gd name="connsiteY284" fmla="*/ 2159284 h 3657590"/>
              <a:gd name="connsiteX285" fmla="*/ 634250 w 1298190"/>
              <a:gd name="connsiteY285" fmla="*/ 2160897 h 3657590"/>
              <a:gd name="connsiteX286" fmla="*/ 687780 w 1298190"/>
              <a:gd name="connsiteY286" fmla="*/ 2191275 h 3657590"/>
              <a:gd name="connsiteX287" fmla="*/ 688174 w 1298190"/>
              <a:gd name="connsiteY287" fmla="*/ 2191707 h 3657590"/>
              <a:gd name="connsiteX288" fmla="*/ 690371 w 1298190"/>
              <a:gd name="connsiteY288" fmla="*/ 2194285 h 3657590"/>
              <a:gd name="connsiteX289" fmla="*/ 692162 w 1298190"/>
              <a:gd name="connsiteY289" fmla="*/ 2196736 h 3657590"/>
              <a:gd name="connsiteX290" fmla="*/ 693622 w 1298190"/>
              <a:gd name="connsiteY290" fmla="*/ 2199073 h 3657590"/>
              <a:gd name="connsiteX291" fmla="*/ 694778 w 1298190"/>
              <a:gd name="connsiteY291" fmla="*/ 2201321 h 3657590"/>
              <a:gd name="connsiteX292" fmla="*/ 695654 w 1298190"/>
              <a:gd name="connsiteY292" fmla="*/ 2203505 h 3657590"/>
              <a:gd name="connsiteX293" fmla="*/ 696264 w 1298190"/>
              <a:gd name="connsiteY293" fmla="*/ 2205614 h 3657590"/>
              <a:gd name="connsiteX294" fmla="*/ 696607 w 1298190"/>
              <a:gd name="connsiteY294" fmla="*/ 2207684 h 3657590"/>
              <a:gd name="connsiteX295" fmla="*/ 696696 w 1298190"/>
              <a:gd name="connsiteY295" fmla="*/ 2209436 h 3657590"/>
              <a:gd name="connsiteX296" fmla="*/ 696696 w 1298190"/>
              <a:gd name="connsiteY296" fmla="*/ 2209703 h 3657590"/>
              <a:gd name="connsiteX297" fmla="*/ 696530 w 1298190"/>
              <a:gd name="connsiteY297" fmla="*/ 2211697 h 3657590"/>
              <a:gd name="connsiteX298" fmla="*/ 696111 w 1298190"/>
              <a:gd name="connsiteY298" fmla="*/ 2213665 h 3657590"/>
              <a:gd name="connsiteX299" fmla="*/ 695451 w 1298190"/>
              <a:gd name="connsiteY299" fmla="*/ 2215621 h 3657590"/>
              <a:gd name="connsiteX300" fmla="*/ 694562 w 1298190"/>
              <a:gd name="connsiteY300" fmla="*/ 2217564 h 3657590"/>
              <a:gd name="connsiteX301" fmla="*/ 693444 w 1298190"/>
              <a:gd name="connsiteY301" fmla="*/ 2219482 h 3657590"/>
              <a:gd name="connsiteX302" fmla="*/ 692111 w 1298190"/>
              <a:gd name="connsiteY302" fmla="*/ 2221387 h 3657590"/>
              <a:gd name="connsiteX303" fmla="*/ 690574 w 1298190"/>
              <a:gd name="connsiteY303" fmla="*/ 2223267 h 3657590"/>
              <a:gd name="connsiteX304" fmla="*/ 629360 w 1298190"/>
              <a:gd name="connsiteY304" fmla="*/ 2251524 h 3657590"/>
              <a:gd name="connsiteX305" fmla="*/ 627760 w 1298190"/>
              <a:gd name="connsiteY305" fmla="*/ 2251829 h 3657590"/>
              <a:gd name="connsiteX306" fmla="*/ 623798 w 1298190"/>
              <a:gd name="connsiteY306" fmla="*/ 2252565 h 3657590"/>
              <a:gd name="connsiteX307" fmla="*/ 624166 w 1298190"/>
              <a:gd name="connsiteY307" fmla="*/ 2258191 h 3657590"/>
              <a:gd name="connsiteX308" fmla="*/ 648944 w 1298190"/>
              <a:gd name="connsiteY308" fmla="*/ 2376339 h 3657590"/>
              <a:gd name="connsiteX309" fmla="*/ 650861 w 1298190"/>
              <a:gd name="connsiteY309" fmla="*/ 2381661 h 3657590"/>
              <a:gd name="connsiteX310" fmla="*/ 656373 w 1298190"/>
              <a:gd name="connsiteY310" fmla="*/ 2380352 h 3657590"/>
              <a:gd name="connsiteX311" fmla="*/ 690498 w 1298190"/>
              <a:gd name="connsiteY311" fmla="*/ 2376377 h 3657590"/>
              <a:gd name="connsiteX312" fmla="*/ 734745 w 1298190"/>
              <a:gd name="connsiteY312" fmla="*/ 2391147 h 3657590"/>
              <a:gd name="connsiteX313" fmla="*/ 717282 w 1298190"/>
              <a:gd name="connsiteY313" fmla="*/ 2441160 h 3657590"/>
              <a:gd name="connsiteX314" fmla="*/ 715898 w 1298190"/>
              <a:gd name="connsiteY314" fmla="*/ 2442824 h 3657590"/>
              <a:gd name="connsiteX315" fmla="*/ 715695 w 1298190"/>
              <a:gd name="connsiteY315" fmla="*/ 2443065 h 3657590"/>
              <a:gd name="connsiteX316" fmla="*/ 713980 w 1298190"/>
              <a:gd name="connsiteY316" fmla="*/ 2445046 h 3657590"/>
              <a:gd name="connsiteX317" fmla="*/ 712190 w 1298190"/>
              <a:gd name="connsiteY317" fmla="*/ 2447065 h 3657590"/>
              <a:gd name="connsiteX318" fmla="*/ 710437 w 1298190"/>
              <a:gd name="connsiteY318" fmla="*/ 2448958 h 3657590"/>
              <a:gd name="connsiteX319" fmla="*/ 708646 w 1298190"/>
              <a:gd name="connsiteY319" fmla="*/ 2450837 h 3657590"/>
              <a:gd name="connsiteX320" fmla="*/ 697483 w 1298190"/>
              <a:gd name="connsiteY320" fmla="*/ 2461365 h 3657590"/>
              <a:gd name="connsiteX321" fmla="*/ 697166 w 1298190"/>
              <a:gd name="connsiteY321" fmla="*/ 2461619 h 3657590"/>
              <a:gd name="connsiteX322" fmla="*/ 693190 w 1298190"/>
              <a:gd name="connsiteY322" fmla="*/ 2465023 h 3657590"/>
              <a:gd name="connsiteX323" fmla="*/ 696340 w 1298190"/>
              <a:gd name="connsiteY323" fmla="*/ 2469722 h 3657590"/>
              <a:gd name="connsiteX324" fmla="*/ 776921 w 1298190"/>
              <a:gd name="connsiteY324" fmla="*/ 2559523 h 3657590"/>
              <a:gd name="connsiteX325" fmla="*/ 781252 w 1298190"/>
              <a:gd name="connsiteY325" fmla="*/ 2563168 h 3657590"/>
              <a:gd name="connsiteX326" fmla="*/ 785367 w 1298190"/>
              <a:gd name="connsiteY326" fmla="*/ 2559295 h 3657590"/>
              <a:gd name="connsiteX327" fmla="*/ 847863 w 1298190"/>
              <a:gd name="connsiteY327" fmla="*/ 2526999 h 3657590"/>
              <a:gd name="connsiteX328" fmla="*/ 858557 w 1298190"/>
              <a:gd name="connsiteY328" fmla="*/ 2529514 h 3657590"/>
              <a:gd name="connsiteX329" fmla="*/ 861325 w 1298190"/>
              <a:gd name="connsiteY329" fmla="*/ 2608990 h 3657590"/>
              <a:gd name="connsiteX330" fmla="*/ 859433 w 1298190"/>
              <a:gd name="connsiteY330" fmla="*/ 2614311 h 3657590"/>
              <a:gd name="connsiteX331" fmla="*/ 864500 w 1298190"/>
              <a:gd name="connsiteY331" fmla="*/ 2616813 h 3657590"/>
              <a:gd name="connsiteX332" fmla="*/ 979270 w 1298190"/>
              <a:gd name="connsiteY332" fmla="*/ 2654329 h 3657590"/>
              <a:gd name="connsiteX333" fmla="*/ 984845 w 1298190"/>
              <a:gd name="connsiteY333" fmla="*/ 2655319 h 3657590"/>
              <a:gd name="connsiteX334" fmla="*/ 986090 w 1298190"/>
              <a:gd name="connsiteY334" fmla="*/ 2651128 h 3657590"/>
              <a:gd name="connsiteX335" fmla="*/ 986458 w 1298190"/>
              <a:gd name="connsiteY335" fmla="*/ 2649896 h 3657590"/>
              <a:gd name="connsiteX336" fmla="*/ 1017078 w 1298190"/>
              <a:gd name="connsiteY336" fmla="*/ 2596125 h 3657590"/>
              <a:gd name="connsiteX337" fmla="*/ 1018957 w 1298190"/>
              <a:gd name="connsiteY337" fmla="*/ 2594487 h 3657590"/>
              <a:gd name="connsiteX338" fmla="*/ 1020837 w 1298190"/>
              <a:gd name="connsiteY338" fmla="*/ 2593013 h 3657590"/>
              <a:gd name="connsiteX339" fmla="*/ 1022704 w 1298190"/>
              <a:gd name="connsiteY339" fmla="*/ 2591693 h 3657590"/>
              <a:gd name="connsiteX340" fmla="*/ 1024583 w 1298190"/>
              <a:gd name="connsiteY340" fmla="*/ 2590537 h 3657590"/>
              <a:gd name="connsiteX341" fmla="*/ 1026450 w 1298190"/>
              <a:gd name="connsiteY341" fmla="*/ 2589559 h 3657590"/>
              <a:gd name="connsiteX342" fmla="*/ 1028330 w 1298190"/>
              <a:gd name="connsiteY342" fmla="*/ 2588746 h 3657590"/>
              <a:gd name="connsiteX343" fmla="*/ 1030209 w 1298190"/>
              <a:gd name="connsiteY343" fmla="*/ 2588124 h 3657590"/>
              <a:gd name="connsiteX344" fmla="*/ 1032102 w 1298190"/>
              <a:gd name="connsiteY344" fmla="*/ 2587692 h 3657590"/>
              <a:gd name="connsiteX345" fmla="*/ 1033994 w 1298190"/>
              <a:gd name="connsiteY345" fmla="*/ 2587463 h 3657590"/>
              <a:gd name="connsiteX346" fmla="*/ 1034972 w 1298190"/>
              <a:gd name="connsiteY346" fmla="*/ 2587438 h 3657590"/>
              <a:gd name="connsiteX347" fmla="*/ 1035899 w 1298190"/>
              <a:gd name="connsiteY347" fmla="*/ 2587463 h 3657590"/>
              <a:gd name="connsiteX348" fmla="*/ 1037829 w 1298190"/>
              <a:gd name="connsiteY348" fmla="*/ 2587705 h 3657590"/>
              <a:gd name="connsiteX349" fmla="*/ 1039798 w 1298190"/>
              <a:gd name="connsiteY349" fmla="*/ 2588200 h 3657590"/>
              <a:gd name="connsiteX350" fmla="*/ 1041804 w 1298190"/>
              <a:gd name="connsiteY350" fmla="*/ 2588962 h 3657590"/>
              <a:gd name="connsiteX351" fmla="*/ 1043887 w 1298190"/>
              <a:gd name="connsiteY351" fmla="*/ 2590004 h 3657590"/>
              <a:gd name="connsiteX352" fmla="*/ 1046046 w 1298190"/>
              <a:gd name="connsiteY352" fmla="*/ 2591388 h 3657590"/>
              <a:gd name="connsiteX353" fmla="*/ 1077085 w 1298190"/>
              <a:gd name="connsiteY353" fmla="*/ 2654811 h 3657590"/>
              <a:gd name="connsiteX354" fmla="*/ 1078126 w 1298190"/>
              <a:gd name="connsiteY354" fmla="*/ 2660361 h 3657590"/>
              <a:gd name="connsiteX355" fmla="*/ 1083752 w 1298190"/>
              <a:gd name="connsiteY355" fmla="*/ 2659993 h 3657590"/>
              <a:gd name="connsiteX356" fmla="*/ 1201900 w 1298190"/>
              <a:gd name="connsiteY356" fmla="*/ 2635253 h 3657590"/>
              <a:gd name="connsiteX357" fmla="*/ 1207222 w 1298190"/>
              <a:gd name="connsiteY357" fmla="*/ 2633323 h 3657590"/>
              <a:gd name="connsiteX358" fmla="*/ 1206701 w 1298190"/>
              <a:gd name="connsiteY358" fmla="*/ 2631113 h 3657590"/>
              <a:gd name="connsiteX359" fmla="*/ 1205913 w 1298190"/>
              <a:gd name="connsiteY359" fmla="*/ 2627811 h 3657590"/>
              <a:gd name="connsiteX360" fmla="*/ 1215045 w 1298190"/>
              <a:gd name="connsiteY360" fmla="*/ 2550507 h 3657590"/>
              <a:gd name="connsiteX361" fmla="*/ 1216709 w 1298190"/>
              <a:gd name="connsiteY361" fmla="*/ 2549414 h 3657590"/>
              <a:gd name="connsiteX362" fmla="*/ 1217127 w 1298190"/>
              <a:gd name="connsiteY362" fmla="*/ 2549173 h 3657590"/>
              <a:gd name="connsiteX363" fmla="*/ 1219350 w 1298190"/>
              <a:gd name="connsiteY363" fmla="*/ 2548195 h 3657590"/>
              <a:gd name="connsiteX364" fmla="*/ 1221738 w 1298190"/>
              <a:gd name="connsiteY364" fmla="*/ 2547560 h 3657590"/>
              <a:gd name="connsiteX365" fmla="*/ 1224290 w 1298190"/>
              <a:gd name="connsiteY365" fmla="*/ 2547230 h 3657590"/>
              <a:gd name="connsiteX366" fmla="*/ 1225827 w 1298190"/>
              <a:gd name="connsiteY366" fmla="*/ 2547179 h 3657590"/>
              <a:gd name="connsiteX367" fmla="*/ 1227008 w 1298190"/>
              <a:gd name="connsiteY367" fmla="*/ 2547204 h 3657590"/>
              <a:gd name="connsiteX368" fmla="*/ 1229891 w 1298190"/>
              <a:gd name="connsiteY368" fmla="*/ 2547484 h 3657590"/>
              <a:gd name="connsiteX369" fmla="*/ 1232952 w 1298190"/>
              <a:gd name="connsiteY369" fmla="*/ 2548068 h 3657590"/>
              <a:gd name="connsiteX370" fmla="*/ 1236177 w 1298190"/>
              <a:gd name="connsiteY370" fmla="*/ 2548957 h 3657590"/>
              <a:gd name="connsiteX371" fmla="*/ 1239606 w 1298190"/>
              <a:gd name="connsiteY371" fmla="*/ 2550164 h 3657590"/>
              <a:gd name="connsiteX372" fmla="*/ 1243213 w 1298190"/>
              <a:gd name="connsiteY372" fmla="*/ 2551700 h 3657590"/>
              <a:gd name="connsiteX373" fmla="*/ 1247061 w 1298190"/>
              <a:gd name="connsiteY373" fmla="*/ 2553593 h 3657590"/>
              <a:gd name="connsiteX374" fmla="*/ 1251151 w 1298190"/>
              <a:gd name="connsiteY374" fmla="*/ 2555891 h 3657590"/>
              <a:gd name="connsiteX375" fmla="*/ 1255520 w 1298190"/>
              <a:gd name="connsiteY375" fmla="*/ 2558635 h 3657590"/>
              <a:gd name="connsiteX376" fmla="*/ 1260282 w 1298190"/>
              <a:gd name="connsiteY376" fmla="*/ 2561937 h 3657590"/>
              <a:gd name="connsiteX377" fmla="*/ 1265540 w 1298190"/>
              <a:gd name="connsiteY377" fmla="*/ 2565962 h 3657590"/>
              <a:gd name="connsiteX378" fmla="*/ 1270163 w 1298190"/>
              <a:gd name="connsiteY378" fmla="*/ 2569836 h 3657590"/>
              <a:gd name="connsiteX379" fmla="*/ 1285364 w 1298190"/>
              <a:gd name="connsiteY379" fmla="*/ 2584949 h 3657590"/>
              <a:gd name="connsiteX380" fmla="*/ 1285364 w 1298190"/>
              <a:gd name="connsiteY380" fmla="*/ 3657639 h 3657590"/>
              <a:gd name="connsiteX381" fmla="*/ 1298064 w 1298190"/>
              <a:gd name="connsiteY381" fmla="*/ 3657639 h 3657590"/>
              <a:gd name="connsiteX382" fmla="*/ 1298064 w 1298190"/>
              <a:gd name="connsiteY382" fmla="*/ 2580237 h 3657590"/>
              <a:gd name="connsiteX383" fmla="*/ 1296540 w 1298190"/>
              <a:gd name="connsiteY383" fmla="*/ 2578459 h 3657590"/>
              <a:gd name="connsiteX384" fmla="*/ 1225878 w 1298190"/>
              <a:gd name="connsiteY384" fmla="*/ 2534403 h 3657590"/>
              <a:gd name="connsiteX385" fmla="*/ 1210359 w 1298190"/>
              <a:gd name="connsiteY385" fmla="*/ 2538404 h 3657590"/>
              <a:gd name="connsiteX386" fmla="*/ 1206041 w 1298190"/>
              <a:gd name="connsiteY386" fmla="*/ 2541451 h 3657590"/>
              <a:gd name="connsiteX387" fmla="*/ 1203056 w 1298190"/>
              <a:gd name="connsiteY387" fmla="*/ 2544309 h 3657590"/>
              <a:gd name="connsiteX388" fmla="*/ 1200122 w 1298190"/>
              <a:gd name="connsiteY388" fmla="*/ 2547979 h 3657590"/>
              <a:gd name="connsiteX389" fmla="*/ 1197887 w 1298190"/>
              <a:gd name="connsiteY389" fmla="*/ 2551561 h 3657590"/>
              <a:gd name="connsiteX390" fmla="*/ 1196096 w 1298190"/>
              <a:gd name="connsiteY390" fmla="*/ 2555079 h 3657590"/>
              <a:gd name="connsiteX391" fmla="*/ 1194649 w 1298190"/>
              <a:gd name="connsiteY391" fmla="*/ 2558546 h 3657590"/>
              <a:gd name="connsiteX392" fmla="*/ 1193455 w 1298190"/>
              <a:gd name="connsiteY392" fmla="*/ 2561962 h 3657590"/>
              <a:gd name="connsiteX393" fmla="*/ 1192477 w 1298190"/>
              <a:gd name="connsiteY393" fmla="*/ 2565327 h 3657590"/>
              <a:gd name="connsiteX394" fmla="*/ 1191677 w 1298190"/>
              <a:gd name="connsiteY394" fmla="*/ 2568667 h 3657590"/>
              <a:gd name="connsiteX395" fmla="*/ 1191016 w 1298190"/>
              <a:gd name="connsiteY395" fmla="*/ 2571944 h 3657590"/>
              <a:gd name="connsiteX396" fmla="*/ 1190496 w 1298190"/>
              <a:gd name="connsiteY396" fmla="*/ 2575183 h 3657590"/>
              <a:gd name="connsiteX397" fmla="*/ 1190077 w 1298190"/>
              <a:gd name="connsiteY397" fmla="*/ 2578370 h 3657590"/>
              <a:gd name="connsiteX398" fmla="*/ 1189746 w 1298190"/>
              <a:gd name="connsiteY398" fmla="*/ 2581520 h 3657590"/>
              <a:gd name="connsiteX399" fmla="*/ 1189518 w 1298190"/>
              <a:gd name="connsiteY399" fmla="*/ 2584631 h 3657590"/>
              <a:gd name="connsiteX400" fmla="*/ 1189353 w 1298190"/>
              <a:gd name="connsiteY400" fmla="*/ 2587679 h 3657590"/>
              <a:gd name="connsiteX401" fmla="*/ 1189264 w 1298190"/>
              <a:gd name="connsiteY401" fmla="*/ 2590689 h 3657590"/>
              <a:gd name="connsiteX402" fmla="*/ 1189238 w 1298190"/>
              <a:gd name="connsiteY402" fmla="*/ 2593648 h 3657590"/>
              <a:gd name="connsiteX403" fmla="*/ 1189277 w 1298190"/>
              <a:gd name="connsiteY403" fmla="*/ 2596569 h 3657590"/>
              <a:gd name="connsiteX404" fmla="*/ 1189365 w 1298190"/>
              <a:gd name="connsiteY404" fmla="*/ 2599427 h 3657590"/>
              <a:gd name="connsiteX405" fmla="*/ 1189492 w 1298190"/>
              <a:gd name="connsiteY405" fmla="*/ 2602234 h 3657590"/>
              <a:gd name="connsiteX406" fmla="*/ 1189670 w 1298190"/>
              <a:gd name="connsiteY406" fmla="*/ 2605002 h 3657590"/>
              <a:gd name="connsiteX407" fmla="*/ 1189886 w 1298190"/>
              <a:gd name="connsiteY407" fmla="*/ 2607707 h 3657590"/>
              <a:gd name="connsiteX408" fmla="*/ 1190140 w 1298190"/>
              <a:gd name="connsiteY408" fmla="*/ 2610374 h 3657590"/>
              <a:gd name="connsiteX409" fmla="*/ 1190432 w 1298190"/>
              <a:gd name="connsiteY409" fmla="*/ 2612978 h 3657590"/>
              <a:gd name="connsiteX410" fmla="*/ 1190762 w 1298190"/>
              <a:gd name="connsiteY410" fmla="*/ 2615518 h 3657590"/>
              <a:gd name="connsiteX411" fmla="*/ 1191118 w 1298190"/>
              <a:gd name="connsiteY411" fmla="*/ 2618007 h 3657590"/>
              <a:gd name="connsiteX412" fmla="*/ 1191499 w 1298190"/>
              <a:gd name="connsiteY412" fmla="*/ 2620458 h 3657590"/>
              <a:gd name="connsiteX413" fmla="*/ 1191905 w 1298190"/>
              <a:gd name="connsiteY413" fmla="*/ 2622846 h 3657590"/>
              <a:gd name="connsiteX414" fmla="*/ 1192350 w 1298190"/>
              <a:gd name="connsiteY414" fmla="*/ 2625157 h 3657590"/>
              <a:gd name="connsiteX415" fmla="*/ 1088426 w 1298190"/>
              <a:gd name="connsiteY415" fmla="*/ 2646912 h 3657590"/>
              <a:gd name="connsiteX416" fmla="*/ 1034972 w 1298190"/>
              <a:gd name="connsiteY416" fmla="*/ 2574738 h 3657590"/>
              <a:gd name="connsiteX417" fmla="*/ 1008099 w 1298190"/>
              <a:gd name="connsiteY417" fmla="*/ 2587121 h 3657590"/>
              <a:gd name="connsiteX418" fmla="*/ 1006930 w 1298190"/>
              <a:gd name="connsiteY418" fmla="*/ 2588226 h 3657590"/>
              <a:gd name="connsiteX419" fmla="*/ 1003298 w 1298190"/>
              <a:gd name="connsiteY419" fmla="*/ 2592010 h 3657590"/>
              <a:gd name="connsiteX420" fmla="*/ 1000009 w 1298190"/>
              <a:gd name="connsiteY420" fmla="*/ 2595871 h 3657590"/>
              <a:gd name="connsiteX421" fmla="*/ 996986 w 1298190"/>
              <a:gd name="connsiteY421" fmla="*/ 2599795 h 3657590"/>
              <a:gd name="connsiteX422" fmla="*/ 994192 w 1298190"/>
              <a:gd name="connsiteY422" fmla="*/ 2603770 h 3657590"/>
              <a:gd name="connsiteX423" fmla="*/ 991601 w 1298190"/>
              <a:gd name="connsiteY423" fmla="*/ 2607796 h 3657590"/>
              <a:gd name="connsiteX424" fmla="*/ 989176 w 1298190"/>
              <a:gd name="connsiteY424" fmla="*/ 2611847 h 3657590"/>
              <a:gd name="connsiteX425" fmla="*/ 986903 w 1298190"/>
              <a:gd name="connsiteY425" fmla="*/ 2615924 h 3657590"/>
              <a:gd name="connsiteX426" fmla="*/ 984782 w 1298190"/>
              <a:gd name="connsiteY426" fmla="*/ 2620026 h 3657590"/>
              <a:gd name="connsiteX427" fmla="*/ 982775 w 1298190"/>
              <a:gd name="connsiteY427" fmla="*/ 2624154 h 3657590"/>
              <a:gd name="connsiteX428" fmla="*/ 980908 w 1298190"/>
              <a:gd name="connsiteY428" fmla="*/ 2628307 h 3657590"/>
              <a:gd name="connsiteX429" fmla="*/ 979168 w 1298190"/>
              <a:gd name="connsiteY429" fmla="*/ 2632459 h 3657590"/>
              <a:gd name="connsiteX430" fmla="*/ 977530 w 1298190"/>
              <a:gd name="connsiteY430" fmla="*/ 2636650 h 3657590"/>
              <a:gd name="connsiteX431" fmla="*/ 976031 w 1298190"/>
              <a:gd name="connsiteY431" fmla="*/ 2640829 h 3657590"/>
              <a:gd name="connsiteX432" fmla="*/ 875092 w 1298190"/>
              <a:gd name="connsiteY432" fmla="*/ 2607822 h 3657590"/>
              <a:gd name="connsiteX433" fmla="*/ 864907 w 1298190"/>
              <a:gd name="connsiteY433" fmla="*/ 2518515 h 3657590"/>
              <a:gd name="connsiteX434" fmla="*/ 847876 w 1298190"/>
              <a:gd name="connsiteY434" fmla="*/ 2514299 h 3657590"/>
              <a:gd name="connsiteX435" fmla="*/ 780884 w 1298190"/>
              <a:gd name="connsiteY435" fmla="*/ 2546214 h 3657590"/>
              <a:gd name="connsiteX436" fmla="*/ 709992 w 1298190"/>
              <a:gd name="connsiteY436" fmla="*/ 2467220 h 3657590"/>
              <a:gd name="connsiteX437" fmla="*/ 713815 w 1298190"/>
              <a:gd name="connsiteY437" fmla="*/ 2463575 h 3657590"/>
              <a:gd name="connsiteX438" fmla="*/ 716952 w 1298190"/>
              <a:gd name="connsiteY438" fmla="*/ 2460426 h 3657590"/>
              <a:gd name="connsiteX439" fmla="*/ 745755 w 1298190"/>
              <a:gd name="connsiteY439" fmla="*/ 2384797 h 3657590"/>
              <a:gd name="connsiteX440" fmla="*/ 690752 w 1298190"/>
              <a:gd name="connsiteY440" fmla="*/ 2363690 h 3657590"/>
              <a:gd name="connsiteX441" fmla="*/ 659027 w 1298190"/>
              <a:gd name="connsiteY441" fmla="*/ 2366789 h 3657590"/>
              <a:gd name="connsiteX442" fmla="*/ 637247 w 1298190"/>
              <a:gd name="connsiteY442" fmla="*/ 2262878 h 3657590"/>
              <a:gd name="connsiteX443" fmla="*/ 641235 w 1298190"/>
              <a:gd name="connsiteY443" fmla="*/ 2261925 h 3657590"/>
              <a:gd name="connsiteX444" fmla="*/ 645235 w 1298190"/>
              <a:gd name="connsiteY444" fmla="*/ 2260884 h 3657590"/>
              <a:gd name="connsiteX445" fmla="*/ 649223 w 1298190"/>
              <a:gd name="connsiteY445" fmla="*/ 2259728 h 3657590"/>
              <a:gd name="connsiteX446" fmla="*/ 653236 w 1298190"/>
              <a:gd name="connsiteY446" fmla="*/ 2258484 h 3657590"/>
              <a:gd name="connsiteX447" fmla="*/ 657249 w 1298190"/>
              <a:gd name="connsiteY447" fmla="*/ 2257137 h 3657590"/>
              <a:gd name="connsiteX448" fmla="*/ 661263 w 1298190"/>
              <a:gd name="connsiteY448" fmla="*/ 2255677 h 3657590"/>
              <a:gd name="connsiteX449" fmla="*/ 665276 w 1298190"/>
              <a:gd name="connsiteY449" fmla="*/ 2254102 h 3657590"/>
              <a:gd name="connsiteX450" fmla="*/ 669289 w 1298190"/>
              <a:gd name="connsiteY450" fmla="*/ 2252413 h 3657590"/>
              <a:gd name="connsiteX451" fmla="*/ 673290 w 1298190"/>
              <a:gd name="connsiteY451" fmla="*/ 2250571 h 3657590"/>
              <a:gd name="connsiteX452" fmla="*/ 677265 w 1298190"/>
              <a:gd name="connsiteY452" fmla="*/ 2248590 h 3657590"/>
              <a:gd name="connsiteX453" fmla="*/ 681240 w 1298190"/>
              <a:gd name="connsiteY453" fmla="*/ 2246419 h 3657590"/>
              <a:gd name="connsiteX454" fmla="*/ 685202 w 1298190"/>
              <a:gd name="connsiteY454" fmla="*/ 2244044 h 3657590"/>
              <a:gd name="connsiteX455" fmla="*/ 689114 w 1298190"/>
              <a:gd name="connsiteY455" fmla="*/ 2241427 h 3657590"/>
              <a:gd name="connsiteX456" fmla="*/ 692987 w 1298190"/>
              <a:gd name="connsiteY456" fmla="*/ 2238494 h 3657590"/>
              <a:gd name="connsiteX457" fmla="*/ 696797 w 1298190"/>
              <a:gd name="connsiteY457" fmla="*/ 2235166 h 3657590"/>
              <a:gd name="connsiteX458" fmla="*/ 699731 w 1298190"/>
              <a:gd name="connsiteY458" fmla="*/ 2232169 h 3657590"/>
              <a:gd name="connsiteX459" fmla="*/ 709396 w 1298190"/>
              <a:gd name="connsiteY459" fmla="*/ 2209436 h 3657590"/>
              <a:gd name="connsiteX460" fmla="*/ 643318 w 1298190"/>
              <a:gd name="connsiteY460" fmla="*/ 2150470 h 3657590"/>
              <a:gd name="connsiteX461" fmla="*/ 676350 w 1298190"/>
              <a:gd name="connsiteY461" fmla="*/ 2049556 h 3657590"/>
              <a:gd name="connsiteX462" fmla="*/ 678077 w 1298190"/>
              <a:gd name="connsiteY462" fmla="*/ 2050090 h 3657590"/>
              <a:gd name="connsiteX463" fmla="*/ 679894 w 1298190"/>
              <a:gd name="connsiteY463" fmla="*/ 2050623 h 3657590"/>
              <a:gd name="connsiteX464" fmla="*/ 681748 w 1298190"/>
              <a:gd name="connsiteY464" fmla="*/ 2051156 h 3657590"/>
              <a:gd name="connsiteX465" fmla="*/ 683665 w 1298190"/>
              <a:gd name="connsiteY465" fmla="*/ 2051677 h 3657590"/>
              <a:gd name="connsiteX466" fmla="*/ 685659 w 1298190"/>
              <a:gd name="connsiteY466" fmla="*/ 2052185 h 3657590"/>
              <a:gd name="connsiteX467" fmla="*/ 687691 w 1298190"/>
              <a:gd name="connsiteY467" fmla="*/ 2052693 h 3657590"/>
              <a:gd name="connsiteX468" fmla="*/ 689787 w 1298190"/>
              <a:gd name="connsiteY468" fmla="*/ 2053188 h 3657590"/>
              <a:gd name="connsiteX469" fmla="*/ 691946 w 1298190"/>
              <a:gd name="connsiteY469" fmla="*/ 2053671 h 3657590"/>
              <a:gd name="connsiteX470" fmla="*/ 694156 w 1298190"/>
              <a:gd name="connsiteY470" fmla="*/ 2054141 h 3657590"/>
              <a:gd name="connsiteX471" fmla="*/ 696429 w 1298190"/>
              <a:gd name="connsiteY471" fmla="*/ 2054585 h 3657590"/>
              <a:gd name="connsiteX472" fmla="*/ 698753 w 1298190"/>
              <a:gd name="connsiteY472" fmla="*/ 2055017 h 3657590"/>
              <a:gd name="connsiteX473" fmla="*/ 701140 w 1298190"/>
              <a:gd name="connsiteY473" fmla="*/ 2055424 h 3657590"/>
              <a:gd name="connsiteX474" fmla="*/ 703592 w 1298190"/>
              <a:gd name="connsiteY474" fmla="*/ 2055805 h 3657590"/>
              <a:gd name="connsiteX475" fmla="*/ 706081 w 1298190"/>
              <a:gd name="connsiteY475" fmla="*/ 2056147 h 3657590"/>
              <a:gd name="connsiteX476" fmla="*/ 708646 w 1298190"/>
              <a:gd name="connsiteY476" fmla="*/ 2056465 h 3657590"/>
              <a:gd name="connsiteX477" fmla="*/ 711250 w 1298190"/>
              <a:gd name="connsiteY477" fmla="*/ 2056732 h 3657590"/>
              <a:gd name="connsiteX478" fmla="*/ 713917 w 1298190"/>
              <a:gd name="connsiteY478" fmla="*/ 2056960 h 3657590"/>
              <a:gd name="connsiteX479" fmla="*/ 716634 w 1298190"/>
              <a:gd name="connsiteY479" fmla="*/ 2057151 h 3657590"/>
              <a:gd name="connsiteX480" fmla="*/ 719416 w 1298190"/>
              <a:gd name="connsiteY480" fmla="*/ 2057265 h 3657590"/>
              <a:gd name="connsiteX481" fmla="*/ 722248 w 1298190"/>
              <a:gd name="connsiteY481" fmla="*/ 2057329 h 3657590"/>
              <a:gd name="connsiteX482" fmla="*/ 723188 w 1298190"/>
              <a:gd name="connsiteY482" fmla="*/ 2057329 h 3657590"/>
              <a:gd name="connsiteX483" fmla="*/ 725131 w 1298190"/>
              <a:gd name="connsiteY483" fmla="*/ 2057316 h 3657590"/>
              <a:gd name="connsiteX484" fmla="*/ 728077 w 1298190"/>
              <a:gd name="connsiteY484" fmla="*/ 2057214 h 3657590"/>
              <a:gd name="connsiteX485" fmla="*/ 731062 w 1298190"/>
              <a:gd name="connsiteY485" fmla="*/ 2057024 h 3657590"/>
              <a:gd name="connsiteX486" fmla="*/ 734122 w 1298190"/>
              <a:gd name="connsiteY486" fmla="*/ 2056719 h 3657590"/>
              <a:gd name="connsiteX487" fmla="*/ 737221 w 1298190"/>
              <a:gd name="connsiteY487" fmla="*/ 2056287 h 3657590"/>
              <a:gd name="connsiteX488" fmla="*/ 745197 w 1298190"/>
              <a:gd name="connsiteY488" fmla="*/ 2054446 h 3657590"/>
              <a:gd name="connsiteX489" fmla="*/ 751902 w 1298190"/>
              <a:gd name="connsiteY489" fmla="*/ 2051817 h 3657590"/>
              <a:gd name="connsiteX490" fmla="*/ 757160 w 1298190"/>
              <a:gd name="connsiteY490" fmla="*/ 2048680 h 3657590"/>
              <a:gd name="connsiteX491" fmla="*/ 761300 w 1298190"/>
              <a:gd name="connsiteY491" fmla="*/ 2045086 h 3657590"/>
              <a:gd name="connsiteX492" fmla="*/ 762710 w 1298190"/>
              <a:gd name="connsiteY492" fmla="*/ 2043524 h 3657590"/>
              <a:gd name="connsiteX493" fmla="*/ 765618 w 1298190"/>
              <a:gd name="connsiteY493" fmla="*/ 2039358 h 3657590"/>
              <a:gd name="connsiteX494" fmla="*/ 737920 w 1298190"/>
              <a:gd name="connsiteY494" fmla="*/ 1955322 h 3657590"/>
              <a:gd name="connsiteX495" fmla="*/ 760576 w 1298190"/>
              <a:gd name="connsiteY495" fmla="*/ 1931116 h 3657590"/>
              <a:gd name="connsiteX496" fmla="*/ 762456 w 1298190"/>
              <a:gd name="connsiteY496" fmla="*/ 1929287 h 3657590"/>
              <a:gd name="connsiteX497" fmla="*/ 764348 w 1298190"/>
              <a:gd name="connsiteY497" fmla="*/ 1927446 h 3657590"/>
              <a:gd name="connsiteX498" fmla="*/ 766253 w 1298190"/>
              <a:gd name="connsiteY498" fmla="*/ 1925617 h 3657590"/>
              <a:gd name="connsiteX499" fmla="*/ 768196 w 1298190"/>
              <a:gd name="connsiteY499" fmla="*/ 1923788 h 3657590"/>
              <a:gd name="connsiteX500" fmla="*/ 770114 w 1298190"/>
              <a:gd name="connsiteY500" fmla="*/ 1921998 h 3657590"/>
              <a:gd name="connsiteX501" fmla="*/ 772070 w 1298190"/>
              <a:gd name="connsiteY501" fmla="*/ 1920194 h 3657590"/>
              <a:gd name="connsiteX502" fmla="*/ 774051 w 1298190"/>
              <a:gd name="connsiteY502" fmla="*/ 1918391 h 3657590"/>
              <a:gd name="connsiteX503" fmla="*/ 776020 w 1298190"/>
              <a:gd name="connsiteY503" fmla="*/ 1916638 h 3657590"/>
              <a:gd name="connsiteX504" fmla="*/ 778026 w 1298190"/>
              <a:gd name="connsiteY504" fmla="*/ 1914848 h 3657590"/>
              <a:gd name="connsiteX505" fmla="*/ 780007 w 1298190"/>
              <a:gd name="connsiteY505" fmla="*/ 1913121 h 3657590"/>
              <a:gd name="connsiteX506" fmla="*/ 783106 w 1298190"/>
              <a:gd name="connsiteY506" fmla="*/ 1910453 h 3657590"/>
              <a:gd name="connsiteX507" fmla="*/ 787157 w 1298190"/>
              <a:gd name="connsiteY507" fmla="*/ 1907037 h 3657590"/>
              <a:gd name="connsiteX508" fmla="*/ 791247 w 1298190"/>
              <a:gd name="connsiteY508" fmla="*/ 1903684 h 3657590"/>
              <a:gd name="connsiteX509" fmla="*/ 795374 w 1298190"/>
              <a:gd name="connsiteY509" fmla="*/ 1900382 h 3657590"/>
              <a:gd name="connsiteX510" fmla="*/ 799553 w 1298190"/>
              <a:gd name="connsiteY510" fmla="*/ 1897131 h 3657590"/>
              <a:gd name="connsiteX511" fmla="*/ 803769 w 1298190"/>
              <a:gd name="connsiteY511" fmla="*/ 1893918 h 3657590"/>
              <a:gd name="connsiteX512" fmla="*/ 808023 w 1298190"/>
              <a:gd name="connsiteY512" fmla="*/ 1890769 h 3657590"/>
              <a:gd name="connsiteX513" fmla="*/ 812316 w 1298190"/>
              <a:gd name="connsiteY513" fmla="*/ 1887682 h 3657590"/>
              <a:gd name="connsiteX514" fmla="*/ 816659 w 1298190"/>
              <a:gd name="connsiteY514" fmla="*/ 1884635 h 3657590"/>
              <a:gd name="connsiteX515" fmla="*/ 816926 w 1298190"/>
              <a:gd name="connsiteY515" fmla="*/ 1884457 h 3657590"/>
              <a:gd name="connsiteX516" fmla="*/ 835024 w 1298190"/>
              <a:gd name="connsiteY516" fmla="*/ 1902008 h 3657590"/>
              <a:gd name="connsiteX517" fmla="*/ 844638 w 1298190"/>
              <a:gd name="connsiteY517" fmla="*/ 1909476 h 3657590"/>
              <a:gd name="connsiteX518" fmla="*/ 851864 w 1298190"/>
              <a:gd name="connsiteY518" fmla="*/ 1914162 h 3657590"/>
              <a:gd name="connsiteX519" fmla="*/ 857807 w 1298190"/>
              <a:gd name="connsiteY519" fmla="*/ 1917362 h 3657590"/>
              <a:gd name="connsiteX520" fmla="*/ 862875 w 1298190"/>
              <a:gd name="connsiteY520" fmla="*/ 1919585 h 3657590"/>
              <a:gd name="connsiteX521" fmla="*/ 867294 w 1298190"/>
              <a:gd name="connsiteY521" fmla="*/ 1921109 h 3657590"/>
              <a:gd name="connsiteX522" fmla="*/ 871168 w 1298190"/>
              <a:gd name="connsiteY522" fmla="*/ 1922099 h 3657590"/>
              <a:gd name="connsiteX523" fmla="*/ 874571 w 1298190"/>
              <a:gd name="connsiteY523" fmla="*/ 1922684 h 3657590"/>
              <a:gd name="connsiteX524" fmla="*/ 877543 w 1298190"/>
              <a:gd name="connsiteY524" fmla="*/ 1922938 h 3657590"/>
              <a:gd name="connsiteX525" fmla="*/ 879245 w 1298190"/>
              <a:gd name="connsiteY525" fmla="*/ 1922976 h 3657590"/>
              <a:gd name="connsiteX526" fmla="*/ 880058 w 1298190"/>
              <a:gd name="connsiteY526" fmla="*/ 1922976 h 3657590"/>
              <a:gd name="connsiteX527" fmla="*/ 882052 w 1298190"/>
              <a:gd name="connsiteY527" fmla="*/ 1922861 h 3657590"/>
              <a:gd name="connsiteX528" fmla="*/ 883385 w 1298190"/>
              <a:gd name="connsiteY528" fmla="*/ 1922722 h 3657590"/>
              <a:gd name="connsiteX529" fmla="*/ 883652 w 1298190"/>
              <a:gd name="connsiteY529" fmla="*/ 1922684 h 3657590"/>
              <a:gd name="connsiteX530" fmla="*/ 894840 w 1298190"/>
              <a:gd name="connsiteY530" fmla="*/ 1918861 h 3657590"/>
              <a:gd name="connsiteX531" fmla="*/ 902067 w 1298190"/>
              <a:gd name="connsiteY531" fmla="*/ 1912689 h 3657590"/>
              <a:gd name="connsiteX532" fmla="*/ 916329 w 1298190"/>
              <a:gd name="connsiteY532" fmla="*/ 1834508 h 3657590"/>
              <a:gd name="connsiteX533" fmla="*/ 915326 w 1298190"/>
              <a:gd name="connsiteY533" fmla="*/ 1713185 h 3657590"/>
              <a:gd name="connsiteX534" fmla="*/ 913814 w 1298190"/>
              <a:gd name="connsiteY534" fmla="*/ 1711432 h 3657590"/>
              <a:gd name="connsiteX535" fmla="*/ 819288 w 1298190"/>
              <a:gd name="connsiteY535" fmla="*/ 1652085 h 3657590"/>
              <a:gd name="connsiteX536" fmla="*/ 799121 w 1298190"/>
              <a:gd name="connsiteY536" fmla="*/ 1657267 h 3657590"/>
              <a:gd name="connsiteX537" fmla="*/ 792847 w 1298190"/>
              <a:gd name="connsiteY537" fmla="*/ 1661788 h 3657590"/>
              <a:gd name="connsiteX538" fmla="*/ 789608 w 1298190"/>
              <a:gd name="connsiteY538" fmla="*/ 1664976 h 3657590"/>
              <a:gd name="connsiteX539" fmla="*/ 786586 w 1298190"/>
              <a:gd name="connsiteY539" fmla="*/ 1668659 h 3657590"/>
              <a:gd name="connsiteX540" fmla="*/ 784135 w 1298190"/>
              <a:gd name="connsiteY540" fmla="*/ 1672253 h 3657590"/>
              <a:gd name="connsiteX541" fmla="*/ 782103 w 1298190"/>
              <a:gd name="connsiteY541" fmla="*/ 1675809 h 3657590"/>
              <a:gd name="connsiteX542" fmla="*/ 780388 w 1298190"/>
              <a:gd name="connsiteY542" fmla="*/ 1679314 h 3657590"/>
              <a:gd name="connsiteX543" fmla="*/ 778915 w 1298190"/>
              <a:gd name="connsiteY543" fmla="*/ 1682781 h 3657590"/>
              <a:gd name="connsiteX544" fmla="*/ 777658 w 1298190"/>
              <a:gd name="connsiteY544" fmla="*/ 1686210 h 3657590"/>
              <a:gd name="connsiteX545" fmla="*/ 776566 w 1298190"/>
              <a:gd name="connsiteY545" fmla="*/ 1689601 h 3657590"/>
              <a:gd name="connsiteX546" fmla="*/ 775626 w 1298190"/>
              <a:gd name="connsiteY546" fmla="*/ 1692966 h 3657590"/>
              <a:gd name="connsiteX547" fmla="*/ 774813 w 1298190"/>
              <a:gd name="connsiteY547" fmla="*/ 1696294 h 3657590"/>
              <a:gd name="connsiteX548" fmla="*/ 774127 w 1298190"/>
              <a:gd name="connsiteY548" fmla="*/ 1699583 h 3657590"/>
              <a:gd name="connsiteX549" fmla="*/ 773530 w 1298190"/>
              <a:gd name="connsiteY549" fmla="*/ 1702860 h 3657590"/>
              <a:gd name="connsiteX550" fmla="*/ 773022 w 1298190"/>
              <a:gd name="connsiteY550" fmla="*/ 1706086 h 3657590"/>
              <a:gd name="connsiteX551" fmla="*/ 772603 w 1298190"/>
              <a:gd name="connsiteY551" fmla="*/ 1709286 h 3657590"/>
              <a:gd name="connsiteX552" fmla="*/ 772248 w 1298190"/>
              <a:gd name="connsiteY552" fmla="*/ 1712448 h 3657590"/>
              <a:gd name="connsiteX553" fmla="*/ 771968 w 1298190"/>
              <a:gd name="connsiteY553" fmla="*/ 1715572 h 3657590"/>
              <a:gd name="connsiteX554" fmla="*/ 771752 w 1298190"/>
              <a:gd name="connsiteY554" fmla="*/ 1718671 h 3657590"/>
              <a:gd name="connsiteX555" fmla="*/ 771600 w 1298190"/>
              <a:gd name="connsiteY555" fmla="*/ 1721732 h 3657590"/>
              <a:gd name="connsiteX556" fmla="*/ 771486 w 1298190"/>
              <a:gd name="connsiteY556" fmla="*/ 1724755 h 3657590"/>
              <a:gd name="connsiteX557" fmla="*/ 771435 w 1298190"/>
              <a:gd name="connsiteY557" fmla="*/ 1727752 h 3657590"/>
              <a:gd name="connsiteX558" fmla="*/ 771422 w 1298190"/>
              <a:gd name="connsiteY558" fmla="*/ 1730711 h 3657590"/>
              <a:gd name="connsiteX559" fmla="*/ 771448 w 1298190"/>
              <a:gd name="connsiteY559" fmla="*/ 1733632 h 3657590"/>
              <a:gd name="connsiteX560" fmla="*/ 771524 w 1298190"/>
              <a:gd name="connsiteY560" fmla="*/ 1736515 h 3657590"/>
              <a:gd name="connsiteX561" fmla="*/ 771625 w 1298190"/>
              <a:gd name="connsiteY561" fmla="*/ 1739359 h 3657590"/>
              <a:gd name="connsiteX562" fmla="*/ 771765 w 1298190"/>
              <a:gd name="connsiteY562" fmla="*/ 1742179 h 3657590"/>
              <a:gd name="connsiteX563" fmla="*/ 771943 w 1298190"/>
              <a:gd name="connsiteY563" fmla="*/ 1744947 h 3657590"/>
              <a:gd name="connsiteX564" fmla="*/ 772146 w 1298190"/>
              <a:gd name="connsiteY564" fmla="*/ 1747691 h 3657590"/>
              <a:gd name="connsiteX565" fmla="*/ 772387 w 1298190"/>
              <a:gd name="connsiteY565" fmla="*/ 1750383 h 3657590"/>
              <a:gd name="connsiteX566" fmla="*/ 772641 w 1298190"/>
              <a:gd name="connsiteY566" fmla="*/ 1753050 h 3657590"/>
              <a:gd name="connsiteX567" fmla="*/ 772933 w 1298190"/>
              <a:gd name="connsiteY567" fmla="*/ 1755666 h 3657590"/>
              <a:gd name="connsiteX568" fmla="*/ 773251 w 1298190"/>
              <a:gd name="connsiteY568" fmla="*/ 1758244 h 3657590"/>
              <a:gd name="connsiteX569" fmla="*/ 773581 w 1298190"/>
              <a:gd name="connsiteY569" fmla="*/ 1760797 h 3657590"/>
              <a:gd name="connsiteX570" fmla="*/ 773949 w 1298190"/>
              <a:gd name="connsiteY570" fmla="*/ 1763299 h 3657590"/>
              <a:gd name="connsiteX571" fmla="*/ 774330 w 1298190"/>
              <a:gd name="connsiteY571" fmla="*/ 1765763 h 3657590"/>
              <a:gd name="connsiteX572" fmla="*/ 774724 w 1298190"/>
              <a:gd name="connsiteY572" fmla="*/ 1768176 h 3657590"/>
              <a:gd name="connsiteX573" fmla="*/ 775143 w 1298190"/>
              <a:gd name="connsiteY573" fmla="*/ 1770551 h 3657590"/>
              <a:gd name="connsiteX574" fmla="*/ 775588 w 1298190"/>
              <a:gd name="connsiteY574" fmla="*/ 1772900 h 3657590"/>
              <a:gd name="connsiteX575" fmla="*/ 776045 w 1298190"/>
              <a:gd name="connsiteY575" fmla="*/ 1775186 h 3657590"/>
              <a:gd name="connsiteX576" fmla="*/ 629729 w 1298190"/>
              <a:gd name="connsiteY576" fmla="*/ 1805818 h 3657590"/>
              <a:gd name="connsiteX577" fmla="*/ 558583 w 1298190"/>
              <a:gd name="connsiteY577" fmla="*/ 1707165 h 3657590"/>
              <a:gd name="connsiteX578" fmla="*/ 522833 w 1298190"/>
              <a:gd name="connsiteY578" fmla="*/ 1723954 h 3657590"/>
              <a:gd name="connsiteX579" fmla="*/ 521919 w 1298190"/>
              <a:gd name="connsiteY579" fmla="*/ 1724818 h 3657590"/>
              <a:gd name="connsiteX580" fmla="*/ 518236 w 1298190"/>
              <a:gd name="connsiteY580" fmla="*/ 1728590 h 3657590"/>
              <a:gd name="connsiteX581" fmla="*/ 514819 w 1298190"/>
              <a:gd name="connsiteY581" fmla="*/ 1732425 h 3657590"/>
              <a:gd name="connsiteX582" fmla="*/ 511644 w 1298190"/>
              <a:gd name="connsiteY582" fmla="*/ 1736312 h 3657590"/>
              <a:gd name="connsiteX583" fmla="*/ 508660 w 1298190"/>
              <a:gd name="connsiteY583" fmla="*/ 1740236 h 3657590"/>
              <a:gd name="connsiteX584" fmla="*/ 505853 w 1298190"/>
              <a:gd name="connsiteY584" fmla="*/ 1744211 h 3657590"/>
              <a:gd name="connsiteX585" fmla="*/ 503186 w 1298190"/>
              <a:gd name="connsiteY585" fmla="*/ 1748211 h 3657590"/>
              <a:gd name="connsiteX586" fmla="*/ 500659 w 1298190"/>
              <a:gd name="connsiteY586" fmla="*/ 1752237 h 3657590"/>
              <a:gd name="connsiteX587" fmla="*/ 498246 w 1298190"/>
              <a:gd name="connsiteY587" fmla="*/ 1756301 h 3657590"/>
              <a:gd name="connsiteX588" fmla="*/ 495960 w 1298190"/>
              <a:gd name="connsiteY588" fmla="*/ 1760365 h 3657590"/>
              <a:gd name="connsiteX589" fmla="*/ 493775 w 1298190"/>
              <a:gd name="connsiteY589" fmla="*/ 1764467 h 3657590"/>
              <a:gd name="connsiteX590" fmla="*/ 491693 w 1298190"/>
              <a:gd name="connsiteY590" fmla="*/ 1768569 h 3657590"/>
              <a:gd name="connsiteX591" fmla="*/ 489699 w 1298190"/>
              <a:gd name="connsiteY591" fmla="*/ 1772710 h 3657590"/>
              <a:gd name="connsiteX592" fmla="*/ 487819 w 1298190"/>
              <a:gd name="connsiteY592" fmla="*/ 1776837 h 3657590"/>
              <a:gd name="connsiteX593" fmla="*/ 486016 w 1298190"/>
              <a:gd name="connsiteY593" fmla="*/ 1780990 h 3657590"/>
              <a:gd name="connsiteX594" fmla="*/ 484301 w 1298190"/>
              <a:gd name="connsiteY594" fmla="*/ 1785156 h 3657590"/>
              <a:gd name="connsiteX595" fmla="*/ 482676 w 1298190"/>
              <a:gd name="connsiteY595" fmla="*/ 1789321 h 3657590"/>
              <a:gd name="connsiteX596" fmla="*/ 481152 w 1298190"/>
              <a:gd name="connsiteY596" fmla="*/ 1793512 h 3657590"/>
              <a:gd name="connsiteX597" fmla="*/ 479704 w 1298190"/>
              <a:gd name="connsiteY597" fmla="*/ 1797703 h 3657590"/>
              <a:gd name="connsiteX598" fmla="*/ 337578 w 1298190"/>
              <a:gd name="connsiteY598" fmla="*/ 1751221 h 3657590"/>
              <a:gd name="connsiteX599" fmla="*/ 325348 w 1298190"/>
              <a:gd name="connsiteY599" fmla="*/ 1630114 h 3657590"/>
              <a:gd name="connsiteX600" fmla="*/ 303085 w 1298190"/>
              <a:gd name="connsiteY600" fmla="*/ 1624603 h 3657590"/>
              <a:gd name="connsiteX601" fmla="*/ 211836 w 1298190"/>
              <a:gd name="connsiteY601" fmla="*/ 1668989 h 3657590"/>
              <a:gd name="connsiteX602" fmla="*/ 112014 w 1298190"/>
              <a:gd name="connsiteY602" fmla="*/ 1557763 h 3657590"/>
              <a:gd name="connsiteX603" fmla="*/ 115888 w 1298190"/>
              <a:gd name="connsiteY603" fmla="*/ 1554169 h 3657590"/>
              <a:gd name="connsiteX604" fmla="*/ 119685 w 1298190"/>
              <a:gd name="connsiteY604" fmla="*/ 1550473 h 3657590"/>
              <a:gd name="connsiteX605" fmla="*/ 122263 w 1298190"/>
              <a:gd name="connsiteY605" fmla="*/ 1547895 h 3657590"/>
              <a:gd name="connsiteX606" fmla="*/ 161862 w 1298190"/>
              <a:gd name="connsiteY606" fmla="*/ 1446778 h 3657590"/>
              <a:gd name="connsiteX607" fmla="*/ 89091 w 1298190"/>
              <a:gd name="connsiteY607" fmla="*/ 1419079 h 3657590"/>
              <a:gd name="connsiteX608" fmla="*/ 43993 w 1298190"/>
              <a:gd name="connsiteY608" fmla="*/ 1423714 h 3657590"/>
              <a:gd name="connsiteX609" fmla="*/ 13323 w 1298190"/>
              <a:gd name="connsiteY609" fmla="*/ 1277386 h 3657590"/>
              <a:gd name="connsiteX610" fmla="*/ 17285 w 1298190"/>
              <a:gd name="connsiteY610" fmla="*/ 1276497 h 3657590"/>
              <a:gd name="connsiteX611" fmla="*/ 21286 w 1298190"/>
              <a:gd name="connsiteY611" fmla="*/ 1275531 h 3657590"/>
              <a:gd name="connsiteX612" fmla="*/ 25274 w 1298190"/>
              <a:gd name="connsiteY612" fmla="*/ 1274490 h 3657590"/>
              <a:gd name="connsiteX613" fmla="*/ 29274 w 1298190"/>
              <a:gd name="connsiteY613" fmla="*/ 1273372 h 3657590"/>
              <a:gd name="connsiteX614" fmla="*/ 33275 w 1298190"/>
              <a:gd name="connsiteY614" fmla="*/ 1272191 h 3657590"/>
              <a:gd name="connsiteX615" fmla="*/ 37275 w 1298190"/>
              <a:gd name="connsiteY615" fmla="*/ 1270934 h 3657590"/>
              <a:gd name="connsiteX616" fmla="*/ 41288 w 1298190"/>
              <a:gd name="connsiteY616" fmla="*/ 1269598 h 3657590"/>
              <a:gd name="connsiteX617" fmla="*/ 45301 w 1298190"/>
              <a:gd name="connsiteY617" fmla="*/ 1268179 h 3657590"/>
              <a:gd name="connsiteX618" fmla="*/ 49315 w 1298190"/>
              <a:gd name="connsiteY618" fmla="*/ 1266682 h 3657590"/>
              <a:gd name="connsiteX619" fmla="*/ 53328 w 1298190"/>
              <a:gd name="connsiteY619" fmla="*/ 1265103 h 3657590"/>
              <a:gd name="connsiteX620" fmla="*/ 57328 w 1298190"/>
              <a:gd name="connsiteY620" fmla="*/ 1263427 h 3657590"/>
              <a:gd name="connsiteX621" fmla="*/ 61329 w 1298190"/>
              <a:gd name="connsiteY621" fmla="*/ 1261652 h 3657590"/>
              <a:gd name="connsiteX622" fmla="*/ 65329 w 1298190"/>
              <a:gd name="connsiteY622" fmla="*/ 1259755 h 3657590"/>
              <a:gd name="connsiteX623" fmla="*/ 69304 w 1298190"/>
              <a:gd name="connsiteY623" fmla="*/ 1257767 h 3657590"/>
              <a:gd name="connsiteX624" fmla="*/ 73280 w 1298190"/>
              <a:gd name="connsiteY624" fmla="*/ 1255628 h 3657590"/>
              <a:gd name="connsiteX625" fmla="*/ 77229 w 1298190"/>
              <a:gd name="connsiteY625" fmla="*/ 1253356 h 3657590"/>
              <a:gd name="connsiteX626" fmla="*/ 81179 w 1298190"/>
              <a:gd name="connsiteY626" fmla="*/ 1250906 h 3657590"/>
              <a:gd name="connsiteX627" fmla="*/ 85090 w 1298190"/>
              <a:gd name="connsiteY627" fmla="*/ 1248252 h 3657590"/>
              <a:gd name="connsiteX628" fmla="*/ 88964 w 1298190"/>
              <a:gd name="connsiteY628" fmla="*/ 1245394 h 3657590"/>
              <a:gd name="connsiteX629" fmla="*/ 92812 w 1298190"/>
              <a:gd name="connsiteY629" fmla="*/ 1242235 h 3657590"/>
              <a:gd name="connsiteX630" fmla="*/ 96597 w 1298190"/>
              <a:gd name="connsiteY630" fmla="*/ 1238742 h 3657590"/>
              <a:gd name="connsiteX631" fmla="*/ 98781 w 1298190"/>
              <a:gd name="connsiteY631" fmla="*/ 1236479 h 3657590"/>
              <a:gd name="connsiteX632" fmla="*/ 111938 w 1298190"/>
              <a:gd name="connsiteY632" fmla="*/ 1206277 h 3657590"/>
              <a:gd name="connsiteX633" fmla="*/ 21425 w 1298190"/>
              <a:gd name="connsiteY633" fmla="*/ 1127358 h 3657590"/>
              <a:gd name="connsiteX634" fmla="*/ 67920 w 1298190"/>
              <a:gd name="connsiteY634" fmla="*/ 985274 h 3657590"/>
              <a:gd name="connsiteX635" fmla="*/ 69635 w 1298190"/>
              <a:gd name="connsiteY635" fmla="*/ 985818 h 3657590"/>
              <a:gd name="connsiteX636" fmla="*/ 71387 w 1298190"/>
              <a:gd name="connsiteY636" fmla="*/ 986364 h 3657590"/>
              <a:gd name="connsiteX637" fmla="*/ 73178 w 1298190"/>
              <a:gd name="connsiteY637" fmla="*/ 986911 h 3657590"/>
              <a:gd name="connsiteX638" fmla="*/ 75032 w 1298190"/>
              <a:gd name="connsiteY638" fmla="*/ 987445 h 3657590"/>
              <a:gd name="connsiteX639" fmla="*/ 76912 w 1298190"/>
              <a:gd name="connsiteY639" fmla="*/ 987976 h 3657590"/>
              <a:gd name="connsiteX640" fmla="*/ 78842 w 1298190"/>
              <a:gd name="connsiteY640" fmla="*/ 988512 h 3657590"/>
              <a:gd name="connsiteX641" fmla="*/ 80823 w 1298190"/>
              <a:gd name="connsiteY641" fmla="*/ 989033 h 3657590"/>
              <a:gd name="connsiteX642" fmla="*/ 82830 w 1298190"/>
              <a:gd name="connsiteY642" fmla="*/ 989555 h 3657590"/>
              <a:gd name="connsiteX643" fmla="*/ 84887 w 1298190"/>
              <a:gd name="connsiteY643" fmla="*/ 990060 h 3657590"/>
              <a:gd name="connsiteX644" fmla="*/ 86995 w 1298190"/>
              <a:gd name="connsiteY644" fmla="*/ 990571 h 3657590"/>
              <a:gd name="connsiteX645" fmla="*/ 89142 w 1298190"/>
              <a:gd name="connsiteY645" fmla="*/ 991067 h 3657590"/>
              <a:gd name="connsiteX646" fmla="*/ 91326 w 1298190"/>
              <a:gd name="connsiteY646" fmla="*/ 991549 h 3657590"/>
              <a:gd name="connsiteX647" fmla="*/ 93561 w 1298190"/>
              <a:gd name="connsiteY647" fmla="*/ 992020 h 3657590"/>
              <a:gd name="connsiteX648" fmla="*/ 95822 w 1298190"/>
              <a:gd name="connsiteY648" fmla="*/ 992476 h 3657590"/>
              <a:gd name="connsiteX649" fmla="*/ 98133 w 1298190"/>
              <a:gd name="connsiteY649" fmla="*/ 992918 h 3657590"/>
              <a:gd name="connsiteX650" fmla="*/ 100495 w 1298190"/>
              <a:gd name="connsiteY650" fmla="*/ 993349 h 3657590"/>
              <a:gd name="connsiteX651" fmla="*/ 102896 w 1298190"/>
              <a:gd name="connsiteY651" fmla="*/ 993756 h 3657590"/>
              <a:gd name="connsiteX652" fmla="*/ 105334 w 1298190"/>
              <a:gd name="connsiteY652" fmla="*/ 994153 h 3657590"/>
              <a:gd name="connsiteX653" fmla="*/ 107811 w 1298190"/>
              <a:gd name="connsiteY653" fmla="*/ 994520 h 3657590"/>
              <a:gd name="connsiteX654" fmla="*/ 110325 w 1298190"/>
              <a:gd name="connsiteY654" fmla="*/ 994862 h 3657590"/>
              <a:gd name="connsiteX655" fmla="*/ 112891 w 1298190"/>
              <a:gd name="connsiteY655" fmla="*/ 995179 h 3657590"/>
              <a:gd name="connsiteX656" fmla="*/ 115494 w 1298190"/>
              <a:gd name="connsiteY656" fmla="*/ 995473 h 3657590"/>
              <a:gd name="connsiteX657" fmla="*/ 118136 w 1298190"/>
              <a:gd name="connsiteY657" fmla="*/ 995741 h 3657590"/>
              <a:gd name="connsiteX658" fmla="*/ 120828 w 1298190"/>
              <a:gd name="connsiteY658" fmla="*/ 995968 h 3657590"/>
              <a:gd name="connsiteX659" fmla="*/ 123546 w 1298190"/>
              <a:gd name="connsiteY659" fmla="*/ 996147 h 3657590"/>
              <a:gd name="connsiteX660" fmla="*/ 126315 w 1298190"/>
              <a:gd name="connsiteY660" fmla="*/ 996296 h 3657590"/>
              <a:gd name="connsiteX661" fmla="*/ 129121 w 1298190"/>
              <a:gd name="connsiteY661" fmla="*/ 996400 h 3657590"/>
              <a:gd name="connsiteX662" fmla="*/ 131953 w 1298190"/>
              <a:gd name="connsiteY662" fmla="*/ 996449 h 3657590"/>
              <a:gd name="connsiteX663" fmla="*/ 133223 w 1298190"/>
              <a:gd name="connsiteY663" fmla="*/ 996449 h 3657590"/>
              <a:gd name="connsiteX664" fmla="*/ 134849 w 1298190"/>
              <a:gd name="connsiteY664" fmla="*/ 996449 h 3657590"/>
              <a:gd name="connsiteX665" fmla="*/ 137770 w 1298190"/>
              <a:gd name="connsiteY665" fmla="*/ 996386 h 3657590"/>
              <a:gd name="connsiteX666" fmla="*/ 140742 w 1298190"/>
              <a:gd name="connsiteY666" fmla="*/ 996246 h 3657590"/>
              <a:gd name="connsiteX667" fmla="*/ 143752 w 1298190"/>
              <a:gd name="connsiteY667" fmla="*/ 996043 h 3657590"/>
              <a:gd name="connsiteX668" fmla="*/ 146787 w 1298190"/>
              <a:gd name="connsiteY668" fmla="*/ 995751 h 3657590"/>
              <a:gd name="connsiteX669" fmla="*/ 149873 w 1298190"/>
              <a:gd name="connsiteY669" fmla="*/ 995359 h 3657590"/>
              <a:gd name="connsiteX670" fmla="*/ 152997 w 1298190"/>
              <a:gd name="connsiteY670" fmla="*/ 994862 h 3657590"/>
              <a:gd name="connsiteX671" fmla="*/ 159804 w 1298190"/>
              <a:gd name="connsiteY671" fmla="*/ 993373 h 3657590"/>
              <a:gd name="connsiteX672" fmla="*/ 167221 w 1298190"/>
              <a:gd name="connsiteY672" fmla="*/ 990938 h 3657590"/>
              <a:gd name="connsiteX673" fmla="*/ 173317 w 1298190"/>
              <a:gd name="connsiteY673" fmla="*/ 988066 h 3657590"/>
              <a:gd name="connsiteX674" fmla="*/ 178384 w 1298190"/>
              <a:gd name="connsiteY674" fmla="*/ 984816 h 3657590"/>
              <a:gd name="connsiteX675" fmla="*/ 182588 w 1298190"/>
              <a:gd name="connsiteY675" fmla="*/ 981250 h 3657590"/>
              <a:gd name="connsiteX676" fmla="*/ 184709 w 1298190"/>
              <a:gd name="connsiteY676" fmla="*/ 978997 h 3657590"/>
              <a:gd name="connsiteX677" fmla="*/ 188989 w 1298190"/>
              <a:gd name="connsiteY677" fmla="*/ 973004 h 3657590"/>
              <a:gd name="connsiteX678" fmla="*/ 150114 w 1298190"/>
              <a:gd name="connsiteY678" fmla="*/ 859493 h 3657590"/>
              <a:gd name="connsiteX679" fmla="*/ 181471 w 1298190"/>
              <a:gd name="connsiteY679" fmla="*/ 825799 h 3657590"/>
              <a:gd name="connsiteX680" fmla="*/ 183477 w 1298190"/>
              <a:gd name="connsiteY680" fmla="*/ 823820 h 3657590"/>
              <a:gd name="connsiteX681" fmla="*/ 185496 w 1298190"/>
              <a:gd name="connsiteY681" fmla="*/ 821850 h 3657590"/>
              <a:gd name="connsiteX682" fmla="*/ 187338 w 1298190"/>
              <a:gd name="connsiteY682" fmla="*/ 820060 h 3657590"/>
              <a:gd name="connsiteX683" fmla="*/ 189319 w 1298190"/>
              <a:gd name="connsiteY683" fmla="*/ 818169 h 3657590"/>
              <a:gd name="connsiteX684" fmla="*/ 191186 w 1298190"/>
              <a:gd name="connsiteY684" fmla="*/ 816378 h 3657590"/>
              <a:gd name="connsiteX685" fmla="*/ 193129 w 1298190"/>
              <a:gd name="connsiteY685" fmla="*/ 814563 h 3657590"/>
              <a:gd name="connsiteX686" fmla="*/ 195110 w 1298190"/>
              <a:gd name="connsiteY686" fmla="*/ 812708 h 3657590"/>
              <a:gd name="connsiteX687" fmla="*/ 197028 w 1298190"/>
              <a:gd name="connsiteY687" fmla="*/ 810926 h 3657590"/>
              <a:gd name="connsiteX688" fmla="*/ 199022 w 1298190"/>
              <a:gd name="connsiteY688" fmla="*/ 809101 h 3657590"/>
              <a:gd name="connsiteX689" fmla="*/ 200952 w 1298190"/>
              <a:gd name="connsiteY689" fmla="*/ 807349 h 3657590"/>
              <a:gd name="connsiteX690" fmla="*/ 202934 w 1298190"/>
              <a:gd name="connsiteY690" fmla="*/ 805569 h 3657590"/>
              <a:gd name="connsiteX691" fmla="*/ 204953 w 1298190"/>
              <a:gd name="connsiteY691" fmla="*/ 803777 h 3657590"/>
              <a:gd name="connsiteX692" fmla="*/ 206921 w 1298190"/>
              <a:gd name="connsiteY692" fmla="*/ 802036 h 3657590"/>
              <a:gd name="connsiteX693" fmla="*/ 208953 w 1298190"/>
              <a:gd name="connsiteY693" fmla="*/ 800260 h 3657590"/>
              <a:gd name="connsiteX694" fmla="*/ 210934 w 1298190"/>
              <a:gd name="connsiteY694" fmla="*/ 798543 h 3657590"/>
              <a:gd name="connsiteX695" fmla="*/ 214071 w 1298190"/>
              <a:gd name="connsiteY695" fmla="*/ 795855 h 3657590"/>
              <a:gd name="connsiteX696" fmla="*/ 218123 w 1298190"/>
              <a:gd name="connsiteY696" fmla="*/ 792437 h 3657590"/>
              <a:gd name="connsiteX697" fmla="*/ 222199 w 1298190"/>
              <a:gd name="connsiteY697" fmla="*/ 789073 h 3657590"/>
              <a:gd name="connsiteX698" fmla="*/ 226327 w 1298190"/>
              <a:gd name="connsiteY698" fmla="*/ 785729 h 3657590"/>
              <a:gd name="connsiteX699" fmla="*/ 230467 w 1298190"/>
              <a:gd name="connsiteY699" fmla="*/ 782431 h 3657590"/>
              <a:gd name="connsiteX700" fmla="*/ 234645 w 1298190"/>
              <a:gd name="connsiteY700" fmla="*/ 779166 h 3657590"/>
              <a:gd name="connsiteX701" fmla="*/ 238862 w 1298190"/>
              <a:gd name="connsiteY701" fmla="*/ 775941 h 3657590"/>
              <a:gd name="connsiteX702" fmla="*/ 243091 w 1298190"/>
              <a:gd name="connsiteY702" fmla="*/ 772752 h 3657590"/>
              <a:gd name="connsiteX703" fmla="*/ 247358 w 1298190"/>
              <a:gd name="connsiteY703" fmla="*/ 769601 h 3657590"/>
              <a:gd name="connsiteX704" fmla="*/ 251651 w 1298190"/>
              <a:gd name="connsiteY704" fmla="*/ 766506 h 3657590"/>
              <a:gd name="connsiteX705" fmla="*/ 255981 w 1298190"/>
              <a:gd name="connsiteY705" fmla="*/ 763430 h 3657590"/>
              <a:gd name="connsiteX706" fmla="*/ 260337 w 1298190"/>
              <a:gd name="connsiteY706" fmla="*/ 760394 h 3657590"/>
              <a:gd name="connsiteX707" fmla="*/ 261379 w 1298190"/>
              <a:gd name="connsiteY707" fmla="*/ 759685 h 3657590"/>
              <a:gd name="connsiteX708" fmla="*/ 279514 w 1298190"/>
              <a:gd name="connsiteY708" fmla="*/ 777668 h 3657590"/>
              <a:gd name="connsiteX709" fmla="*/ 291541 w 1298190"/>
              <a:gd name="connsiteY709" fmla="*/ 787738 h 3657590"/>
              <a:gd name="connsiteX710" fmla="*/ 300520 w 1298190"/>
              <a:gd name="connsiteY710" fmla="*/ 794382 h 3657590"/>
              <a:gd name="connsiteX711" fmla="*/ 307950 w 1298190"/>
              <a:gd name="connsiteY711" fmla="*/ 799282 h 3657590"/>
              <a:gd name="connsiteX712" fmla="*/ 314325 w 1298190"/>
              <a:gd name="connsiteY712" fmla="*/ 803043 h 3657590"/>
              <a:gd name="connsiteX713" fmla="*/ 319926 w 1298190"/>
              <a:gd name="connsiteY713" fmla="*/ 805975 h 3657590"/>
              <a:gd name="connsiteX714" fmla="*/ 324891 w 1298190"/>
              <a:gd name="connsiteY714" fmla="*/ 808287 h 3657590"/>
              <a:gd name="connsiteX715" fmla="*/ 329362 w 1298190"/>
              <a:gd name="connsiteY715" fmla="*/ 810093 h 3657590"/>
              <a:gd name="connsiteX716" fmla="*/ 333362 w 1298190"/>
              <a:gd name="connsiteY716" fmla="*/ 811487 h 3657590"/>
              <a:gd name="connsiteX717" fmla="*/ 336931 w 1298190"/>
              <a:gd name="connsiteY717" fmla="*/ 812544 h 3657590"/>
              <a:gd name="connsiteX718" fmla="*/ 340118 w 1298190"/>
              <a:gd name="connsiteY718" fmla="*/ 813327 h 3657590"/>
              <a:gd name="connsiteX719" fmla="*/ 342887 w 1298190"/>
              <a:gd name="connsiteY719" fmla="*/ 813873 h 3657590"/>
              <a:gd name="connsiteX720" fmla="*/ 345237 w 1298190"/>
              <a:gd name="connsiteY720" fmla="*/ 814230 h 3657590"/>
              <a:gd name="connsiteX721" fmla="*/ 347129 w 1298190"/>
              <a:gd name="connsiteY721" fmla="*/ 814459 h 3657590"/>
              <a:gd name="connsiteX722" fmla="*/ 348488 w 1298190"/>
              <a:gd name="connsiteY722" fmla="*/ 814572 h 3657590"/>
              <a:gd name="connsiteX723" fmla="*/ 349174 w 1298190"/>
              <a:gd name="connsiteY723" fmla="*/ 814621 h 3657590"/>
              <a:gd name="connsiteX724" fmla="*/ 352184 w 1298190"/>
              <a:gd name="connsiteY724" fmla="*/ 814712 h 3657590"/>
              <a:gd name="connsiteX725" fmla="*/ 372326 w 1298190"/>
              <a:gd name="connsiteY725" fmla="*/ 809533 h 3657590"/>
              <a:gd name="connsiteX726" fmla="*/ 382333 w 1298190"/>
              <a:gd name="connsiteY726" fmla="*/ 801278 h 3657590"/>
              <a:gd name="connsiteX727" fmla="*/ 395402 w 1298190"/>
              <a:gd name="connsiteY727" fmla="*/ 691650 h 3657590"/>
              <a:gd name="connsiteX728" fmla="*/ 399605 w 1298190"/>
              <a:gd name="connsiteY728" fmla="*/ 690192 h 3657590"/>
              <a:gd name="connsiteX729" fmla="*/ 403809 w 1298190"/>
              <a:gd name="connsiteY729" fmla="*/ 688769 h 3657590"/>
              <a:gd name="connsiteX730" fmla="*/ 407987 w 1298190"/>
              <a:gd name="connsiteY730" fmla="*/ 687384 h 3657590"/>
              <a:gd name="connsiteX731" fmla="*/ 412127 w 1298190"/>
              <a:gd name="connsiteY731" fmla="*/ 686050 h 3657590"/>
              <a:gd name="connsiteX732" fmla="*/ 416267 w 1298190"/>
              <a:gd name="connsiteY732" fmla="*/ 684755 h 3657590"/>
              <a:gd name="connsiteX733" fmla="*/ 420382 w 1298190"/>
              <a:gd name="connsiteY733" fmla="*/ 683510 h 3657590"/>
              <a:gd name="connsiteX734" fmla="*/ 424472 w 1298190"/>
              <a:gd name="connsiteY734" fmla="*/ 682289 h 3657590"/>
              <a:gd name="connsiteX735" fmla="*/ 428548 w 1298190"/>
              <a:gd name="connsiteY735" fmla="*/ 681123 h 3657590"/>
              <a:gd name="connsiteX736" fmla="*/ 432587 w 1298190"/>
              <a:gd name="connsiteY736" fmla="*/ 679993 h 3657590"/>
              <a:gd name="connsiteX737" fmla="*/ 436600 w 1298190"/>
              <a:gd name="connsiteY737" fmla="*/ 678887 h 3657590"/>
              <a:gd name="connsiteX738" fmla="*/ 440588 w 1298190"/>
              <a:gd name="connsiteY738" fmla="*/ 677834 h 3657590"/>
              <a:gd name="connsiteX739" fmla="*/ 444550 w 1298190"/>
              <a:gd name="connsiteY739" fmla="*/ 676818 h 3657590"/>
              <a:gd name="connsiteX740" fmla="*/ 448487 w 1298190"/>
              <a:gd name="connsiteY740" fmla="*/ 675840 h 3657590"/>
              <a:gd name="connsiteX741" fmla="*/ 452374 w 1298190"/>
              <a:gd name="connsiteY741" fmla="*/ 674898 h 3657590"/>
              <a:gd name="connsiteX742" fmla="*/ 456247 w 1298190"/>
              <a:gd name="connsiteY742" fmla="*/ 674000 h 3657590"/>
              <a:gd name="connsiteX743" fmla="*/ 460057 w 1298190"/>
              <a:gd name="connsiteY743" fmla="*/ 673121 h 3657590"/>
              <a:gd name="connsiteX744" fmla="*/ 463842 w 1298190"/>
              <a:gd name="connsiteY744" fmla="*/ 672298 h 3657590"/>
              <a:gd name="connsiteX745" fmla="*/ 467588 w 1298190"/>
              <a:gd name="connsiteY745" fmla="*/ 671494 h 3657590"/>
              <a:gd name="connsiteX746" fmla="*/ 471284 w 1298190"/>
              <a:gd name="connsiteY746" fmla="*/ 670736 h 3657590"/>
              <a:gd name="connsiteX747" fmla="*/ 474929 w 1298190"/>
              <a:gd name="connsiteY747" fmla="*/ 670011 h 3657590"/>
              <a:gd name="connsiteX748" fmla="*/ 478523 w 1298190"/>
              <a:gd name="connsiteY748" fmla="*/ 669311 h 3657590"/>
              <a:gd name="connsiteX749" fmla="*/ 482066 w 1298190"/>
              <a:gd name="connsiteY749" fmla="*/ 668662 h 3657590"/>
              <a:gd name="connsiteX750" fmla="*/ 485533 w 1298190"/>
              <a:gd name="connsiteY750" fmla="*/ 668027 h 3657590"/>
              <a:gd name="connsiteX751" fmla="*/ 488937 w 1298190"/>
              <a:gd name="connsiteY751" fmla="*/ 667447 h 3657590"/>
              <a:gd name="connsiteX752" fmla="*/ 492277 w 1298190"/>
              <a:gd name="connsiteY752" fmla="*/ 666885 h 3657590"/>
              <a:gd name="connsiteX753" fmla="*/ 495515 w 1298190"/>
              <a:gd name="connsiteY753" fmla="*/ 666365 h 3657590"/>
              <a:gd name="connsiteX754" fmla="*/ 498678 w 1298190"/>
              <a:gd name="connsiteY754" fmla="*/ 665869 h 3657590"/>
              <a:gd name="connsiteX755" fmla="*/ 501738 w 1298190"/>
              <a:gd name="connsiteY755" fmla="*/ 665412 h 3657590"/>
              <a:gd name="connsiteX756" fmla="*/ 504672 w 1298190"/>
              <a:gd name="connsiteY756" fmla="*/ 664996 h 3657590"/>
              <a:gd name="connsiteX757" fmla="*/ 507491 w 1298190"/>
              <a:gd name="connsiteY757" fmla="*/ 664599 h 3657590"/>
              <a:gd name="connsiteX758" fmla="*/ 510146 w 1298190"/>
              <a:gd name="connsiteY758" fmla="*/ 664241 h 3657590"/>
              <a:gd name="connsiteX759" fmla="*/ 512648 w 1298190"/>
              <a:gd name="connsiteY759" fmla="*/ 663924 h 3657590"/>
              <a:gd name="connsiteX760" fmla="*/ 514921 w 1298190"/>
              <a:gd name="connsiteY760" fmla="*/ 663637 h 3657590"/>
              <a:gd name="connsiteX761" fmla="*/ 516953 w 1298190"/>
              <a:gd name="connsiteY761" fmla="*/ 663393 h 3657590"/>
              <a:gd name="connsiteX762" fmla="*/ 518680 w 1298190"/>
              <a:gd name="connsiteY762" fmla="*/ 663190 h 3657590"/>
              <a:gd name="connsiteX763" fmla="*/ 519975 w 1298190"/>
              <a:gd name="connsiteY763" fmla="*/ 663036 h 3657590"/>
              <a:gd name="connsiteX764" fmla="*/ 520712 w 1298190"/>
              <a:gd name="connsiteY764" fmla="*/ 662961 h 3657590"/>
              <a:gd name="connsiteX765" fmla="*/ 541718 w 1298190"/>
              <a:gd name="connsiteY765" fmla="*/ 660982 h 3657590"/>
              <a:gd name="connsiteX766" fmla="*/ 571855 w 1298190"/>
              <a:gd name="connsiteY766" fmla="*/ 734106 h 3657590"/>
              <a:gd name="connsiteX767" fmla="*/ 572477 w 1298190"/>
              <a:gd name="connsiteY767" fmla="*/ 734970 h 3657590"/>
              <a:gd name="connsiteX768" fmla="*/ 573176 w 1298190"/>
              <a:gd name="connsiteY768" fmla="*/ 735882 h 3657590"/>
              <a:gd name="connsiteX769" fmla="*/ 573925 w 1298190"/>
              <a:gd name="connsiteY769" fmla="*/ 736849 h 3657590"/>
              <a:gd name="connsiteX770" fmla="*/ 574725 w 1298190"/>
              <a:gd name="connsiteY770" fmla="*/ 737867 h 3657590"/>
              <a:gd name="connsiteX771" fmla="*/ 575601 w 1298190"/>
              <a:gd name="connsiteY771" fmla="*/ 738944 h 3657590"/>
              <a:gd name="connsiteX772" fmla="*/ 576541 w 1298190"/>
              <a:gd name="connsiteY772" fmla="*/ 740064 h 3657590"/>
              <a:gd name="connsiteX773" fmla="*/ 577557 w 1298190"/>
              <a:gd name="connsiteY773" fmla="*/ 741230 h 3657590"/>
              <a:gd name="connsiteX774" fmla="*/ 578662 w 1298190"/>
              <a:gd name="connsiteY774" fmla="*/ 742450 h 3657590"/>
              <a:gd name="connsiteX775" fmla="*/ 579856 w 1298190"/>
              <a:gd name="connsiteY775" fmla="*/ 743706 h 3657590"/>
              <a:gd name="connsiteX776" fmla="*/ 581151 w 1298190"/>
              <a:gd name="connsiteY776" fmla="*/ 745015 h 3657590"/>
              <a:gd name="connsiteX777" fmla="*/ 582561 w 1298190"/>
              <a:gd name="connsiteY777" fmla="*/ 746359 h 3657590"/>
              <a:gd name="connsiteX778" fmla="*/ 584085 w 1298190"/>
              <a:gd name="connsiteY778" fmla="*/ 747743 h 3657590"/>
              <a:gd name="connsiteX779" fmla="*/ 585774 w 1298190"/>
              <a:gd name="connsiteY779" fmla="*/ 749167 h 3657590"/>
              <a:gd name="connsiteX780" fmla="*/ 587641 w 1298190"/>
              <a:gd name="connsiteY780" fmla="*/ 750631 h 3657590"/>
              <a:gd name="connsiteX781" fmla="*/ 589711 w 1298190"/>
              <a:gd name="connsiteY781" fmla="*/ 752115 h 3657590"/>
              <a:gd name="connsiteX782" fmla="*/ 592048 w 1298190"/>
              <a:gd name="connsiteY782" fmla="*/ 753612 h 3657590"/>
              <a:gd name="connsiteX783" fmla="*/ 594740 w 1298190"/>
              <a:gd name="connsiteY783" fmla="*/ 755111 h 3657590"/>
              <a:gd name="connsiteX784" fmla="*/ 597915 w 1298190"/>
              <a:gd name="connsiteY784" fmla="*/ 756584 h 3657590"/>
              <a:gd name="connsiteX785" fmla="*/ 601827 w 1298190"/>
              <a:gd name="connsiteY785" fmla="*/ 757994 h 3657590"/>
              <a:gd name="connsiteX786" fmla="*/ 607199 w 1298190"/>
              <a:gd name="connsiteY786" fmla="*/ 759214 h 3657590"/>
              <a:gd name="connsiteX787" fmla="*/ 612863 w 1298190"/>
              <a:gd name="connsiteY787" fmla="*/ 759636 h 3657590"/>
              <a:gd name="connsiteX788" fmla="*/ 620521 w 1298190"/>
              <a:gd name="connsiteY788" fmla="*/ 758856 h 3657590"/>
              <a:gd name="connsiteX789" fmla="*/ 621448 w 1298190"/>
              <a:gd name="connsiteY789" fmla="*/ 758668 h 3657590"/>
              <a:gd name="connsiteX790" fmla="*/ 635583 w 1298190"/>
              <a:gd name="connsiteY790" fmla="*/ 752864 h 3657590"/>
              <a:gd name="connsiteX791" fmla="*/ 641781 w 1298190"/>
              <a:gd name="connsiteY791" fmla="*/ 748672 h 3657590"/>
              <a:gd name="connsiteX792" fmla="*/ 646543 w 1298190"/>
              <a:gd name="connsiteY792" fmla="*/ 744748 h 3657590"/>
              <a:gd name="connsiteX793" fmla="*/ 650569 w 1298190"/>
              <a:gd name="connsiteY793" fmla="*/ 740953 h 3657590"/>
              <a:gd name="connsiteX794" fmla="*/ 652436 w 1298190"/>
              <a:gd name="connsiteY794" fmla="*/ 739033 h 3657590"/>
              <a:gd name="connsiteX795" fmla="*/ 693444 w 1298190"/>
              <a:gd name="connsiteY795" fmla="*/ 663661 h 3657590"/>
              <a:gd name="connsiteX796" fmla="*/ 693711 w 1298190"/>
              <a:gd name="connsiteY796" fmla="*/ 661846 h 3657590"/>
              <a:gd name="connsiteX797" fmla="*/ 693711 w 1298190"/>
              <a:gd name="connsiteY797" fmla="*/ 48 h 3657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</a:cxnLst>
            <a:rect l="l" t="t" r="r" b="b"/>
            <a:pathLst>
              <a:path w="1298190" h="3657590">
                <a:moveTo>
                  <a:pt x="693711" y="48"/>
                </a:moveTo>
                <a:lnTo>
                  <a:pt x="681011" y="48"/>
                </a:lnTo>
                <a:lnTo>
                  <a:pt x="681011" y="660902"/>
                </a:lnTo>
                <a:cubicBezTo>
                  <a:pt x="680592" y="662302"/>
                  <a:pt x="680147" y="663696"/>
                  <a:pt x="679690" y="665095"/>
                </a:cubicBezTo>
                <a:cubicBezTo>
                  <a:pt x="679170" y="666667"/>
                  <a:pt x="678636" y="668245"/>
                  <a:pt x="678077" y="669818"/>
                </a:cubicBezTo>
                <a:cubicBezTo>
                  <a:pt x="677531" y="671330"/>
                  <a:pt x="676972" y="672844"/>
                  <a:pt x="676401" y="674352"/>
                </a:cubicBezTo>
                <a:cubicBezTo>
                  <a:pt x="675855" y="675801"/>
                  <a:pt x="675283" y="677248"/>
                  <a:pt x="674699" y="678682"/>
                </a:cubicBezTo>
                <a:cubicBezTo>
                  <a:pt x="674128" y="680082"/>
                  <a:pt x="673556" y="681466"/>
                  <a:pt x="672959" y="682835"/>
                </a:cubicBezTo>
                <a:cubicBezTo>
                  <a:pt x="672388" y="684184"/>
                  <a:pt x="671791" y="685503"/>
                  <a:pt x="671194" y="686824"/>
                </a:cubicBezTo>
                <a:cubicBezTo>
                  <a:pt x="670610" y="688108"/>
                  <a:pt x="670013" y="689378"/>
                  <a:pt x="669403" y="690648"/>
                </a:cubicBezTo>
                <a:cubicBezTo>
                  <a:pt x="668819" y="691864"/>
                  <a:pt x="668222" y="693084"/>
                  <a:pt x="667613" y="694289"/>
                </a:cubicBezTo>
                <a:cubicBezTo>
                  <a:pt x="667016" y="695475"/>
                  <a:pt x="666406" y="696641"/>
                  <a:pt x="665797" y="697797"/>
                </a:cubicBezTo>
                <a:cubicBezTo>
                  <a:pt x="665200" y="698929"/>
                  <a:pt x="664590" y="700045"/>
                  <a:pt x="663980" y="701151"/>
                </a:cubicBezTo>
                <a:cubicBezTo>
                  <a:pt x="663371" y="702242"/>
                  <a:pt x="662761" y="703324"/>
                  <a:pt x="662152" y="704376"/>
                </a:cubicBezTo>
                <a:cubicBezTo>
                  <a:pt x="661542" y="705417"/>
                  <a:pt x="660932" y="706458"/>
                  <a:pt x="660310" y="707476"/>
                </a:cubicBezTo>
                <a:cubicBezTo>
                  <a:pt x="659700" y="708464"/>
                  <a:pt x="659091" y="709456"/>
                  <a:pt x="658469" y="710432"/>
                </a:cubicBezTo>
                <a:cubicBezTo>
                  <a:pt x="657859" y="711385"/>
                  <a:pt x="657237" y="712337"/>
                  <a:pt x="656614" y="713281"/>
                </a:cubicBezTo>
                <a:cubicBezTo>
                  <a:pt x="656005" y="714193"/>
                  <a:pt x="655383" y="715096"/>
                  <a:pt x="654760" y="715993"/>
                </a:cubicBezTo>
                <a:cubicBezTo>
                  <a:pt x="654151" y="716872"/>
                  <a:pt x="653528" y="717750"/>
                  <a:pt x="652906" y="718598"/>
                </a:cubicBezTo>
                <a:cubicBezTo>
                  <a:pt x="652284" y="719436"/>
                  <a:pt x="651661" y="720266"/>
                  <a:pt x="651039" y="721089"/>
                </a:cubicBezTo>
                <a:cubicBezTo>
                  <a:pt x="650417" y="721888"/>
                  <a:pt x="649795" y="722691"/>
                  <a:pt x="649172" y="723465"/>
                </a:cubicBezTo>
                <a:cubicBezTo>
                  <a:pt x="648550" y="724224"/>
                  <a:pt x="647928" y="724974"/>
                  <a:pt x="647305" y="725722"/>
                </a:cubicBezTo>
                <a:cubicBezTo>
                  <a:pt x="646683" y="726461"/>
                  <a:pt x="646061" y="727171"/>
                  <a:pt x="645426" y="727886"/>
                </a:cubicBezTo>
                <a:cubicBezTo>
                  <a:pt x="644804" y="728579"/>
                  <a:pt x="644169" y="729269"/>
                  <a:pt x="643533" y="729939"/>
                </a:cubicBezTo>
                <a:cubicBezTo>
                  <a:pt x="633653" y="740407"/>
                  <a:pt x="623061" y="746936"/>
                  <a:pt x="612863" y="746936"/>
                </a:cubicBezTo>
                <a:cubicBezTo>
                  <a:pt x="585380" y="746936"/>
                  <a:pt x="561555" y="698586"/>
                  <a:pt x="553097" y="653094"/>
                </a:cubicBezTo>
                <a:lnTo>
                  <a:pt x="552056" y="647543"/>
                </a:lnTo>
                <a:lnTo>
                  <a:pt x="546430" y="647910"/>
                </a:lnTo>
                <a:cubicBezTo>
                  <a:pt x="491477" y="651541"/>
                  <a:pt x="437438" y="662872"/>
                  <a:pt x="385826" y="681580"/>
                </a:cubicBezTo>
                <a:lnTo>
                  <a:pt x="384772" y="681961"/>
                </a:lnTo>
                <a:lnTo>
                  <a:pt x="382968" y="682607"/>
                </a:lnTo>
                <a:lnTo>
                  <a:pt x="380504" y="683510"/>
                </a:lnTo>
                <a:lnTo>
                  <a:pt x="381660" y="688402"/>
                </a:lnTo>
                <a:lnTo>
                  <a:pt x="381800" y="689021"/>
                </a:lnTo>
                <a:cubicBezTo>
                  <a:pt x="382397" y="691497"/>
                  <a:pt x="382943" y="694002"/>
                  <a:pt x="383438" y="696542"/>
                </a:cubicBezTo>
                <a:cubicBezTo>
                  <a:pt x="383933" y="699028"/>
                  <a:pt x="384378" y="701533"/>
                  <a:pt x="384784" y="704058"/>
                </a:cubicBezTo>
                <a:cubicBezTo>
                  <a:pt x="385153" y="706385"/>
                  <a:pt x="385496" y="708722"/>
                  <a:pt x="385788" y="711067"/>
                </a:cubicBezTo>
                <a:cubicBezTo>
                  <a:pt x="386067" y="713266"/>
                  <a:pt x="386308" y="715463"/>
                  <a:pt x="386511" y="717661"/>
                </a:cubicBezTo>
                <a:cubicBezTo>
                  <a:pt x="386715" y="719754"/>
                  <a:pt x="386880" y="721838"/>
                  <a:pt x="387007" y="723907"/>
                </a:cubicBezTo>
                <a:cubicBezTo>
                  <a:pt x="387134" y="725891"/>
                  <a:pt x="387235" y="727870"/>
                  <a:pt x="387299" y="729825"/>
                </a:cubicBezTo>
                <a:cubicBezTo>
                  <a:pt x="387375" y="731720"/>
                  <a:pt x="387413" y="733610"/>
                  <a:pt x="387413" y="735480"/>
                </a:cubicBezTo>
                <a:cubicBezTo>
                  <a:pt x="387426" y="737281"/>
                  <a:pt x="387413" y="739072"/>
                  <a:pt x="387362" y="740849"/>
                </a:cubicBezTo>
                <a:cubicBezTo>
                  <a:pt x="387324" y="742564"/>
                  <a:pt x="387261" y="744281"/>
                  <a:pt x="387172" y="745968"/>
                </a:cubicBezTo>
                <a:cubicBezTo>
                  <a:pt x="387070" y="747605"/>
                  <a:pt x="386956" y="749232"/>
                  <a:pt x="386816" y="750845"/>
                </a:cubicBezTo>
                <a:cubicBezTo>
                  <a:pt x="386689" y="752407"/>
                  <a:pt x="386524" y="753955"/>
                  <a:pt x="386346" y="755493"/>
                </a:cubicBezTo>
                <a:cubicBezTo>
                  <a:pt x="386169" y="756992"/>
                  <a:pt x="385965" y="758465"/>
                  <a:pt x="385737" y="759923"/>
                </a:cubicBezTo>
                <a:cubicBezTo>
                  <a:pt x="385508" y="761346"/>
                  <a:pt x="385267" y="762756"/>
                  <a:pt x="385000" y="764130"/>
                </a:cubicBezTo>
                <a:cubicBezTo>
                  <a:pt x="384746" y="765489"/>
                  <a:pt x="384454" y="766824"/>
                  <a:pt x="384149" y="768128"/>
                </a:cubicBezTo>
                <a:cubicBezTo>
                  <a:pt x="383857" y="769413"/>
                  <a:pt x="383527" y="770668"/>
                  <a:pt x="383184" y="771914"/>
                </a:cubicBezTo>
                <a:cubicBezTo>
                  <a:pt x="382841" y="773119"/>
                  <a:pt x="382486" y="774314"/>
                  <a:pt x="382105" y="775485"/>
                </a:cubicBezTo>
                <a:cubicBezTo>
                  <a:pt x="381724" y="776626"/>
                  <a:pt x="381317" y="777757"/>
                  <a:pt x="380898" y="778834"/>
                </a:cubicBezTo>
                <a:cubicBezTo>
                  <a:pt x="380479" y="779915"/>
                  <a:pt x="380047" y="780967"/>
                  <a:pt x="379590" y="781984"/>
                </a:cubicBezTo>
                <a:cubicBezTo>
                  <a:pt x="379133" y="782986"/>
                  <a:pt x="378663" y="783969"/>
                  <a:pt x="378168" y="784906"/>
                </a:cubicBezTo>
                <a:cubicBezTo>
                  <a:pt x="377672" y="785833"/>
                  <a:pt x="377164" y="786736"/>
                  <a:pt x="376631" y="787600"/>
                </a:cubicBezTo>
                <a:cubicBezTo>
                  <a:pt x="376110" y="788463"/>
                  <a:pt x="375564" y="789286"/>
                  <a:pt x="374993" y="790075"/>
                </a:cubicBezTo>
                <a:cubicBezTo>
                  <a:pt x="374434" y="790850"/>
                  <a:pt x="373862" y="791599"/>
                  <a:pt x="373253" y="792313"/>
                </a:cubicBezTo>
                <a:cubicBezTo>
                  <a:pt x="371094" y="794878"/>
                  <a:pt x="368681" y="796971"/>
                  <a:pt x="365976" y="798519"/>
                </a:cubicBezTo>
                <a:cubicBezTo>
                  <a:pt x="361924" y="800870"/>
                  <a:pt x="357263" y="801952"/>
                  <a:pt x="352171" y="801952"/>
                </a:cubicBezTo>
                <a:cubicBezTo>
                  <a:pt x="327330" y="801952"/>
                  <a:pt x="292240" y="776318"/>
                  <a:pt x="267272" y="747149"/>
                </a:cubicBezTo>
                <a:lnTo>
                  <a:pt x="263601" y="742867"/>
                </a:lnTo>
                <a:lnTo>
                  <a:pt x="258915" y="746017"/>
                </a:lnTo>
                <a:cubicBezTo>
                  <a:pt x="227825" y="766884"/>
                  <a:pt x="198857" y="790646"/>
                  <a:pt x="172365" y="816948"/>
                </a:cubicBezTo>
                <a:cubicBezTo>
                  <a:pt x="159957" y="829267"/>
                  <a:pt x="148082" y="842145"/>
                  <a:pt x="136792" y="855555"/>
                </a:cubicBezTo>
                <a:lnTo>
                  <a:pt x="133147" y="859875"/>
                </a:lnTo>
                <a:lnTo>
                  <a:pt x="137033" y="864003"/>
                </a:lnTo>
                <a:cubicBezTo>
                  <a:pt x="141923" y="869182"/>
                  <a:pt x="146622" y="874743"/>
                  <a:pt x="151041" y="880523"/>
                </a:cubicBezTo>
                <a:cubicBezTo>
                  <a:pt x="152362" y="882264"/>
                  <a:pt x="153670" y="884031"/>
                  <a:pt x="154940" y="885806"/>
                </a:cubicBezTo>
                <a:cubicBezTo>
                  <a:pt x="156452" y="887914"/>
                  <a:pt x="157899" y="890038"/>
                  <a:pt x="159322" y="892181"/>
                </a:cubicBezTo>
                <a:cubicBezTo>
                  <a:pt x="160604" y="894126"/>
                  <a:pt x="161849" y="896096"/>
                  <a:pt x="163056" y="898050"/>
                </a:cubicBezTo>
                <a:cubicBezTo>
                  <a:pt x="164160" y="899866"/>
                  <a:pt x="165240" y="901696"/>
                  <a:pt x="166269" y="903521"/>
                </a:cubicBezTo>
                <a:cubicBezTo>
                  <a:pt x="167246" y="905238"/>
                  <a:pt x="168174" y="906955"/>
                  <a:pt x="169075" y="908666"/>
                </a:cubicBezTo>
                <a:cubicBezTo>
                  <a:pt x="169926" y="910293"/>
                  <a:pt x="170739" y="911931"/>
                  <a:pt x="171514" y="913543"/>
                </a:cubicBezTo>
                <a:cubicBezTo>
                  <a:pt x="172263" y="915096"/>
                  <a:pt x="172974" y="916643"/>
                  <a:pt x="173647" y="918191"/>
                </a:cubicBezTo>
                <a:cubicBezTo>
                  <a:pt x="174295" y="919679"/>
                  <a:pt x="174917" y="921153"/>
                  <a:pt x="175489" y="922626"/>
                </a:cubicBezTo>
                <a:cubicBezTo>
                  <a:pt x="176048" y="924046"/>
                  <a:pt x="176581" y="925459"/>
                  <a:pt x="177076" y="926854"/>
                </a:cubicBezTo>
                <a:cubicBezTo>
                  <a:pt x="177546" y="928213"/>
                  <a:pt x="177991" y="929571"/>
                  <a:pt x="178410" y="930906"/>
                </a:cubicBezTo>
                <a:cubicBezTo>
                  <a:pt x="178803" y="932211"/>
                  <a:pt x="179172" y="933511"/>
                  <a:pt x="179502" y="934791"/>
                </a:cubicBezTo>
                <a:cubicBezTo>
                  <a:pt x="179832" y="936051"/>
                  <a:pt x="180124" y="937280"/>
                  <a:pt x="180378" y="938511"/>
                </a:cubicBezTo>
                <a:cubicBezTo>
                  <a:pt x="180632" y="939716"/>
                  <a:pt x="180848" y="940897"/>
                  <a:pt x="181039" y="942083"/>
                </a:cubicBezTo>
                <a:cubicBezTo>
                  <a:pt x="181217" y="943224"/>
                  <a:pt x="181369" y="944366"/>
                  <a:pt x="181483" y="945486"/>
                </a:cubicBezTo>
                <a:cubicBezTo>
                  <a:pt x="181597" y="946588"/>
                  <a:pt x="181674" y="947684"/>
                  <a:pt x="181712" y="948751"/>
                </a:cubicBezTo>
                <a:cubicBezTo>
                  <a:pt x="181763" y="949802"/>
                  <a:pt x="181763" y="950844"/>
                  <a:pt x="181737" y="951861"/>
                </a:cubicBezTo>
                <a:cubicBezTo>
                  <a:pt x="181712" y="952878"/>
                  <a:pt x="181661" y="953865"/>
                  <a:pt x="181559" y="954833"/>
                </a:cubicBezTo>
                <a:cubicBezTo>
                  <a:pt x="181471" y="955796"/>
                  <a:pt x="181343" y="956738"/>
                  <a:pt x="181178" y="957665"/>
                </a:cubicBezTo>
                <a:cubicBezTo>
                  <a:pt x="181013" y="958578"/>
                  <a:pt x="180810" y="959466"/>
                  <a:pt x="180581" y="960345"/>
                </a:cubicBezTo>
                <a:cubicBezTo>
                  <a:pt x="180340" y="961207"/>
                  <a:pt x="180074" y="962045"/>
                  <a:pt x="179769" y="962869"/>
                </a:cubicBezTo>
                <a:cubicBezTo>
                  <a:pt x="179464" y="963684"/>
                  <a:pt x="179121" y="964472"/>
                  <a:pt x="178740" y="965246"/>
                </a:cubicBezTo>
                <a:cubicBezTo>
                  <a:pt x="178499" y="965727"/>
                  <a:pt x="178257" y="966198"/>
                  <a:pt x="177991" y="966654"/>
                </a:cubicBezTo>
                <a:cubicBezTo>
                  <a:pt x="177826" y="966937"/>
                  <a:pt x="177661" y="967200"/>
                  <a:pt x="177495" y="967468"/>
                </a:cubicBezTo>
                <a:cubicBezTo>
                  <a:pt x="177038" y="968192"/>
                  <a:pt x="176530" y="968892"/>
                  <a:pt x="175997" y="969552"/>
                </a:cubicBezTo>
                <a:cubicBezTo>
                  <a:pt x="168110" y="979330"/>
                  <a:pt x="151740" y="983586"/>
                  <a:pt x="132106" y="983586"/>
                </a:cubicBezTo>
                <a:cubicBezTo>
                  <a:pt x="111900" y="983586"/>
                  <a:pt x="88227" y="979086"/>
                  <a:pt x="66777" y="971481"/>
                </a:cubicBezTo>
                <a:lnTo>
                  <a:pt x="63069" y="970172"/>
                </a:lnTo>
                <a:lnTo>
                  <a:pt x="61456" y="969602"/>
                </a:lnTo>
                <a:lnTo>
                  <a:pt x="58967" y="974672"/>
                </a:lnTo>
                <a:cubicBezTo>
                  <a:pt x="34646" y="1024022"/>
                  <a:pt x="17489" y="1076500"/>
                  <a:pt x="7938" y="1130637"/>
                </a:cubicBezTo>
                <a:lnTo>
                  <a:pt x="6948" y="1136199"/>
                </a:lnTo>
                <a:lnTo>
                  <a:pt x="12370" y="1137827"/>
                </a:lnTo>
                <a:cubicBezTo>
                  <a:pt x="41390" y="1146512"/>
                  <a:pt x="71070" y="1162730"/>
                  <a:pt x="87122" y="1180560"/>
                </a:cubicBezTo>
                <a:cubicBezTo>
                  <a:pt x="87910" y="1181423"/>
                  <a:pt x="88672" y="1182301"/>
                  <a:pt x="89383" y="1183188"/>
                </a:cubicBezTo>
                <a:cubicBezTo>
                  <a:pt x="90082" y="1184042"/>
                  <a:pt x="90755" y="1184890"/>
                  <a:pt x="91377" y="1185754"/>
                </a:cubicBezTo>
                <a:cubicBezTo>
                  <a:pt x="91987" y="1186582"/>
                  <a:pt x="92558" y="1187406"/>
                  <a:pt x="93104" y="1188229"/>
                </a:cubicBezTo>
                <a:cubicBezTo>
                  <a:pt x="93625" y="1189033"/>
                  <a:pt x="94108" y="1189817"/>
                  <a:pt x="94577" y="1190621"/>
                </a:cubicBezTo>
                <a:cubicBezTo>
                  <a:pt x="95022" y="1191394"/>
                  <a:pt x="95441" y="1192169"/>
                  <a:pt x="95822" y="1192942"/>
                </a:cubicBezTo>
                <a:cubicBezTo>
                  <a:pt x="96190" y="1193707"/>
                  <a:pt x="96546" y="1194455"/>
                  <a:pt x="96863" y="1195219"/>
                </a:cubicBezTo>
                <a:cubicBezTo>
                  <a:pt x="97168" y="1195953"/>
                  <a:pt x="97448" y="1196687"/>
                  <a:pt x="97701" y="1197426"/>
                </a:cubicBezTo>
                <a:cubicBezTo>
                  <a:pt x="97943" y="1198152"/>
                  <a:pt x="98171" y="1198876"/>
                  <a:pt x="98349" y="1199586"/>
                </a:cubicBezTo>
                <a:cubicBezTo>
                  <a:pt x="98540" y="1200294"/>
                  <a:pt x="98692" y="1201009"/>
                  <a:pt x="98819" y="1201708"/>
                </a:cubicBezTo>
                <a:cubicBezTo>
                  <a:pt x="98946" y="1202402"/>
                  <a:pt x="99048" y="1203102"/>
                  <a:pt x="99124" y="1203802"/>
                </a:cubicBezTo>
                <a:cubicBezTo>
                  <a:pt x="99187" y="1204486"/>
                  <a:pt x="99226" y="1205161"/>
                  <a:pt x="99238" y="1205845"/>
                </a:cubicBezTo>
                <a:cubicBezTo>
                  <a:pt x="99238" y="1205985"/>
                  <a:pt x="99238" y="1206139"/>
                  <a:pt x="99238" y="1206277"/>
                </a:cubicBezTo>
                <a:cubicBezTo>
                  <a:pt x="99238" y="1206813"/>
                  <a:pt x="99226" y="1207344"/>
                  <a:pt x="99187" y="1207880"/>
                </a:cubicBezTo>
                <a:cubicBezTo>
                  <a:pt x="99137" y="1208554"/>
                  <a:pt x="99060" y="1209215"/>
                  <a:pt x="98946" y="1209884"/>
                </a:cubicBezTo>
                <a:cubicBezTo>
                  <a:pt x="98845" y="1210543"/>
                  <a:pt x="98705" y="1211209"/>
                  <a:pt x="98540" y="1211868"/>
                </a:cubicBezTo>
                <a:cubicBezTo>
                  <a:pt x="98375" y="1212528"/>
                  <a:pt x="98184" y="1213187"/>
                  <a:pt x="97968" y="1213847"/>
                </a:cubicBezTo>
                <a:cubicBezTo>
                  <a:pt x="97752" y="1214508"/>
                  <a:pt x="97498" y="1215157"/>
                  <a:pt x="97232" y="1215802"/>
                </a:cubicBezTo>
                <a:cubicBezTo>
                  <a:pt x="96965" y="1216452"/>
                  <a:pt x="96660" y="1217111"/>
                  <a:pt x="96330" y="1217757"/>
                </a:cubicBezTo>
                <a:cubicBezTo>
                  <a:pt x="96012" y="1218407"/>
                  <a:pt x="95657" y="1219057"/>
                  <a:pt x="95276" y="1219692"/>
                </a:cubicBezTo>
                <a:cubicBezTo>
                  <a:pt x="94907" y="1220336"/>
                  <a:pt x="94501" y="1220971"/>
                  <a:pt x="94082" y="1221606"/>
                </a:cubicBezTo>
                <a:cubicBezTo>
                  <a:pt x="93650" y="1222256"/>
                  <a:pt x="93193" y="1222891"/>
                  <a:pt x="92710" y="1223526"/>
                </a:cubicBezTo>
                <a:cubicBezTo>
                  <a:pt x="92241" y="1224161"/>
                  <a:pt x="91745" y="1224781"/>
                  <a:pt x="91225" y="1225416"/>
                </a:cubicBezTo>
                <a:cubicBezTo>
                  <a:pt x="90704" y="1226042"/>
                  <a:pt x="90158" y="1226662"/>
                  <a:pt x="89586" y="1227282"/>
                </a:cubicBezTo>
                <a:cubicBezTo>
                  <a:pt x="73330" y="1245067"/>
                  <a:pt x="38952" y="1259810"/>
                  <a:pt x="5436" y="1266016"/>
                </a:cubicBezTo>
                <a:lnTo>
                  <a:pt x="3836" y="1266310"/>
                </a:lnTo>
                <a:lnTo>
                  <a:pt x="-126" y="1267049"/>
                </a:lnTo>
                <a:lnTo>
                  <a:pt x="242" y="1272686"/>
                </a:lnTo>
                <a:cubicBezTo>
                  <a:pt x="3899" y="1327690"/>
                  <a:pt x="15215" y="1381728"/>
                  <a:pt x="33922" y="1433290"/>
                </a:cubicBezTo>
                <a:lnTo>
                  <a:pt x="35840" y="1438612"/>
                </a:lnTo>
                <a:lnTo>
                  <a:pt x="41352" y="1437303"/>
                </a:lnTo>
                <a:cubicBezTo>
                  <a:pt x="56693" y="1433671"/>
                  <a:pt x="73229" y="1431703"/>
                  <a:pt x="88761" y="1431703"/>
                </a:cubicBezTo>
                <a:cubicBezTo>
                  <a:pt x="117183" y="1431703"/>
                  <a:pt x="142278" y="1438256"/>
                  <a:pt x="150864" y="1453128"/>
                </a:cubicBezTo>
                <a:cubicBezTo>
                  <a:pt x="160808" y="1470362"/>
                  <a:pt x="147854" y="1498632"/>
                  <a:pt x="126607" y="1524336"/>
                </a:cubicBezTo>
                <a:cubicBezTo>
                  <a:pt x="126213" y="1524819"/>
                  <a:pt x="125806" y="1525289"/>
                  <a:pt x="125400" y="1525771"/>
                </a:cubicBezTo>
                <a:cubicBezTo>
                  <a:pt x="125260" y="1525937"/>
                  <a:pt x="125133" y="1526102"/>
                  <a:pt x="124994" y="1526254"/>
                </a:cubicBezTo>
                <a:cubicBezTo>
                  <a:pt x="124422" y="1526927"/>
                  <a:pt x="123851" y="1527600"/>
                  <a:pt x="123279" y="1528261"/>
                </a:cubicBezTo>
                <a:cubicBezTo>
                  <a:pt x="122695" y="1528921"/>
                  <a:pt x="122124" y="1529581"/>
                  <a:pt x="121539" y="1530229"/>
                </a:cubicBezTo>
                <a:cubicBezTo>
                  <a:pt x="120955" y="1530902"/>
                  <a:pt x="120358" y="1531563"/>
                  <a:pt x="119749" y="1532223"/>
                </a:cubicBezTo>
                <a:cubicBezTo>
                  <a:pt x="119164" y="1532871"/>
                  <a:pt x="118568" y="1533506"/>
                  <a:pt x="117971" y="1534141"/>
                </a:cubicBezTo>
                <a:cubicBezTo>
                  <a:pt x="117361" y="1534801"/>
                  <a:pt x="116739" y="1535462"/>
                  <a:pt x="116116" y="1536109"/>
                </a:cubicBezTo>
                <a:cubicBezTo>
                  <a:pt x="115494" y="1536757"/>
                  <a:pt x="114872" y="1537405"/>
                  <a:pt x="114250" y="1538052"/>
                </a:cubicBezTo>
                <a:cubicBezTo>
                  <a:pt x="109513" y="1542891"/>
                  <a:pt x="104560" y="1547526"/>
                  <a:pt x="99492" y="1551870"/>
                </a:cubicBezTo>
                <a:lnTo>
                  <a:pt x="99187" y="1552124"/>
                </a:lnTo>
                <a:lnTo>
                  <a:pt x="95200" y="1555540"/>
                </a:lnTo>
                <a:lnTo>
                  <a:pt x="98349" y="1560226"/>
                </a:lnTo>
                <a:cubicBezTo>
                  <a:pt x="128931" y="1605794"/>
                  <a:pt x="165799" y="1646866"/>
                  <a:pt x="207899" y="1682311"/>
                </a:cubicBezTo>
                <a:lnTo>
                  <a:pt x="212217" y="1685956"/>
                </a:lnTo>
                <a:lnTo>
                  <a:pt x="216332" y="1682083"/>
                </a:lnTo>
                <a:cubicBezTo>
                  <a:pt x="242456" y="1657495"/>
                  <a:pt x="278168" y="1637341"/>
                  <a:pt x="303085" y="1637341"/>
                </a:cubicBezTo>
                <a:cubicBezTo>
                  <a:pt x="309118" y="1637341"/>
                  <a:pt x="314515" y="1638522"/>
                  <a:pt x="318998" y="1641113"/>
                </a:cubicBezTo>
                <a:cubicBezTo>
                  <a:pt x="342011" y="1654384"/>
                  <a:pt x="339509" y="1708092"/>
                  <a:pt x="323786" y="1752352"/>
                </a:cubicBezTo>
                <a:lnTo>
                  <a:pt x="321907" y="1757686"/>
                </a:lnTo>
                <a:lnTo>
                  <a:pt x="326974" y="1760175"/>
                </a:lnTo>
                <a:cubicBezTo>
                  <a:pt x="376326" y="1784483"/>
                  <a:pt x="428815" y="1801653"/>
                  <a:pt x="482968" y="1811203"/>
                </a:cubicBezTo>
                <a:lnTo>
                  <a:pt x="488543" y="1812181"/>
                </a:lnTo>
                <a:lnTo>
                  <a:pt x="489800" y="1807990"/>
                </a:lnTo>
                <a:lnTo>
                  <a:pt x="490169" y="1806771"/>
                </a:lnTo>
                <a:cubicBezTo>
                  <a:pt x="498652" y="1778425"/>
                  <a:pt x="514311" y="1749418"/>
                  <a:pt x="531647" y="1733124"/>
                </a:cubicBezTo>
                <a:cubicBezTo>
                  <a:pt x="532282" y="1732540"/>
                  <a:pt x="532904" y="1731968"/>
                  <a:pt x="533526" y="1731409"/>
                </a:cubicBezTo>
                <a:cubicBezTo>
                  <a:pt x="534149" y="1730863"/>
                  <a:pt x="534771" y="1730330"/>
                  <a:pt x="535406" y="1729822"/>
                </a:cubicBezTo>
                <a:cubicBezTo>
                  <a:pt x="536028" y="1729301"/>
                  <a:pt x="536663" y="1728806"/>
                  <a:pt x="537286" y="1728323"/>
                </a:cubicBezTo>
                <a:cubicBezTo>
                  <a:pt x="537921" y="1727853"/>
                  <a:pt x="538543" y="1727396"/>
                  <a:pt x="539178" y="1726952"/>
                </a:cubicBezTo>
                <a:cubicBezTo>
                  <a:pt x="539800" y="1726507"/>
                  <a:pt x="540435" y="1726088"/>
                  <a:pt x="541057" y="1725682"/>
                </a:cubicBezTo>
                <a:cubicBezTo>
                  <a:pt x="541692" y="1725288"/>
                  <a:pt x="542328" y="1724894"/>
                  <a:pt x="542962" y="1724539"/>
                </a:cubicBezTo>
                <a:cubicBezTo>
                  <a:pt x="543585" y="1724170"/>
                  <a:pt x="544220" y="1723827"/>
                  <a:pt x="544855" y="1723497"/>
                </a:cubicBezTo>
                <a:cubicBezTo>
                  <a:pt x="545490" y="1723180"/>
                  <a:pt x="546125" y="1722875"/>
                  <a:pt x="546760" y="1722583"/>
                </a:cubicBezTo>
                <a:cubicBezTo>
                  <a:pt x="547395" y="1722303"/>
                  <a:pt x="548030" y="1722037"/>
                  <a:pt x="548665" y="1721795"/>
                </a:cubicBezTo>
                <a:cubicBezTo>
                  <a:pt x="549300" y="1721554"/>
                  <a:pt x="549947" y="1721338"/>
                  <a:pt x="550582" y="1721135"/>
                </a:cubicBezTo>
                <a:cubicBezTo>
                  <a:pt x="551217" y="1720932"/>
                  <a:pt x="551865" y="1720767"/>
                  <a:pt x="552500" y="1720602"/>
                </a:cubicBezTo>
                <a:cubicBezTo>
                  <a:pt x="553148" y="1720449"/>
                  <a:pt x="553796" y="1720322"/>
                  <a:pt x="554443" y="1720208"/>
                </a:cubicBezTo>
                <a:cubicBezTo>
                  <a:pt x="555078" y="1720106"/>
                  <a:pt x="555726" y="1720017"/>
                  <a:pt x="556374" y="1719967"/>
                </a:cubicBezTo>
                <a:cubicBezTo>
                  <a:pt x="557021" y="1719903"/>
                  <a:pt x="557682" y="1719865"/>
                  <a:pt x="558329" y="1719865"/>
                </a:cubicBezTo>
                <a:cubicBezTo>
                  <a:pt x="558418" y="1719865"/>
                  <a:pt x="558507" y="1719865"/>
                  <a:pt x="558583" y="1719865"/>
                </a:cubicBezTo>
                <a:cubicBezTo>
                  <a:pt x="559155" y="1719865"/>
                  <a:pt x="559726" y="1719878"/>
                  <a:pt x="560298" y="1719929"/>
                </a:cubicBezTo>
                <a:cubicBezTo>
                  <a:pt x="560958" y="1719979"/>
                  <a:pt x="561619" y="1720056"/>
                  <a:pt x="562279" y="1720170"/>
                </a:cubicBezTo>
                <a:cubicBezTo>
                  <a:pt x="562952" y="1720284"/>
                  <a:pt x="563625" y="1720424"/>
                  <a:pt x="564286" y="1720589"/>
                </a:cubicBezTo>
                <a:cubicBezTo>
                  <a:pt x="564971" y="1720754"/>
                  <a:pt x="565645" y="1720957"/>
                  <a:pt x="566318" y="1721186"/>
                </a:cubicBezTo>
                <a:cubicBezTo>
                  <a:pt x="567016" y="1721427"/>
                  <a:pt x="567715" y="1721694"/>
                  <a:pt x="568400" y="1721999"/>
                </a:cubicBezTo>
                <a:cubicBezTo>
                  <a:pt x="569112" y="1722303"/>
                  <a:pt x="569823" y="1722634"/>
                  <a:pt x="570521" y="1723002"/>
                </a:cubicBezTo>
                <a:cubicBezTo>
                  <a:pt x="571258" y="1723383"/>
                  <a:pt x="571982" y="1723802"/>
                  <a:pt x="572706" y="1724247"/>
                </a:cubicBezTo>
                <a:cubicBezTo>
                  <a:pt x="573442" y="1724704"/>
                  <a:pt x="574179" y="1725186"/>
                  <a:pt x="574903" y="1725707"/>
                </a:cubicBezTo>
                <a:cubicBezTo>
                  <a:pt x="594766" y="1739817"/>
                  <a:pt x="611606" y="1777256"/>
                  <a:pt x="618349" y="1813705"/>
                </a:cubicBezTo>
                <a:lnTo>
                  <a:pt x="619378" y="1819255"/>
                </a:lnTo>
                <a:lnTo>
                  <a:pt x="625017" y="1818887"/>
                </a:lnTo>
                <a:cubicBezTo>
                  <a:pt x="679932" y="1815254"/>
                  <a:pt x="733957" y="1803951"/>
                  <a:pt x="785621" y="1785257"/>
                </a:cubicBezTo>
                <a:lnTo>
                  <a:pt x="790942" y="1783327"/>
                </a:lnTo>
                <a:lnTo>
                  <a:pt x="790421" y="1781130"/>
                </a:lnTo>
                <a:lnTo>
                  <a:pt x="789647" y="1777828"/>
                </a:lnTo>
                <a:cubicBezTo>
                  <a:pt x="779918" y="1736718"/>
                  <a:pt x="782166" y="1687188"/>
                  <a:pt x="801927" y="1670742"/>
                </a:cubicBezTo>
                <a:cubicBezTo>
                  <a:pt x="802588" y="1670195"/>
                  <a:pt x="803261" y="1669688"/>
                  <a:pt x="803960" y="1669218"/>
                </a:cubicBezTo>
                <a:cubicBezTo>
                  <a:pt x="804455" y="1668887"/>
                  <a:pt x="804950" y="1668570"/>
                  <a:pt x="805471" y="1668278"/>
                </a:cubicBezTo>
                <a:cubicBezTo>
                  <a:pt x="805674" y="1668151"/>
                  <a:pt x="805877" y="1668036"/>
                  <a:pt x="806080" y="1667935"/>
                </a:cubicBezTo>
                <a:cubicBezTo>
                  <a:pt x="806804" y="1667541"/>
                  <a:pt x="807541" y="1667198"/>
                  <a:pt x="808303" y="1666881"/>
                </a:cubicBezTo>
                <a:cubicBezTo>
                  <a:pt x="809065" y="1666563"/>
                  <a:pt x="809840" y="1666297"/>
                  <a:pt x="810640" y="1666055"/>
                </a:cubicBezTo>
                <a:cubicBezTo>
                  <a:pt x="811427" y="1665814"/>
                  <a:pt x="812240" y="1665611"/>
                  <a:pt x="813078" y="1665446"/>
                </a:cubicBezTo>
                <a:cubicBezTo>
                  <a:pt x="813916" y="1665281"/>
                  <a:pt x="814767" y="1665154"/>
                  <a:pt x="815631" y="1665065"/>
                </a:cubicBezTo>
                <a:cubicBezTo>
                  <a:pt x="816507" y="1664963"/>
                  <a:pt x="817396" y="1664912"/>
                  <a:pt x="818298" y="1664887"/>
                </a:cubicBezTo>
                <a:cubicBezTo>
                  <a:pt x="818603" y="1664874"/>
                  <a:pt x="818920" y="1664874"/>
                  <a:pt x="819225" y="1664874"/>
                </a:cubicBezTo>
                <a:cubicBezTo>
                  <a:pt x="819834" y="1664874"/>
                  <a:pt x="820457" y="1664887"/>
                  <a:pt x="821079" y="1664912"/>
                </a:cubicBezTo>
                <a:cubicBezTo>
                  <a:pt x="822031" y="1664963"/>
                  <a:pt x="823009" y="1665052"/>
                  <a:pt x="823987" y="1665166"/>
                </a:cubicBezTo>
                <a:cubicBezTo>
                  <a:pt x="824978" y="1665281"/>
                  <a:pt x="825981" y="1665433"/>
                  <a:pt x="827010" y="1665623"/>
                </a:cubicBezTo>
                <a:cubicBezTo>
                  <a:pt x="828039" y="1665814"/>
                  <a:pt x="829093" y="1666043"/>
                  <a:pt x="830160" y="1666309"/>
                </a:cubicBezTo>
                <a:cubicBezTo>
                  <a:pt x="831239" y="1666576"/>
                  <a:pt x="832331" y="1666868"/>
                  <a:pt x="833436" y="1667211"/>
                </a:cubicBezTo>
                <a:cubicBezTo>
                  <a:pt x="834554" y="1667554"/>
                  <a:pt x="835697" y="1667922"/>
                  <a:pt x="836840" y="1668341"/>
                </a:cubicBezTo>
                <a:cubicBezTo>
                  <a:pt x="838008" y="1668760"/>
                  <a:pt x="839202" y="1669218"/>
                  <a:pt x="840396" y="1669700"/>
                </a:cubicBezTo>
                <a:cubicBezTo>
                  <a:pt x="841615" y="1670208"/>
                  <a:pt x="842847" y="1670754"/>
                  <a:pt x="844091" y="1671326"/>
                </a:cubicBezTo>
                <a:cubicBezTo>
                  <a:pt x="845374" y="1671910"/>
                  <a:pt x="846657" y="1672545"/>
                  <a:pt x="847965" y="1673205"/>
                </a:cubicBezTo>
                <a:cubicBezTo>
                  <a:pt x="849298" y="1673891"/>
                  <a:pt x="850657" y="1674628"/>
                  <a:pt x="852016" y="1675390"/>
                </a:cubicBezTo>
                <a:cubicBezTo>
                  <a:pt x="853426" y="1676177"/>
                  <a:pt x="854836" y="1677003"/>
                  <a:pt x="856245" y="1677866"/>
                </a:cubicBezTo>
                <a:cubicBezTo>
                  <a:pt x="857744" y="1678781"/>
                  <a:pt x="859242" y="1679733"/>
                  <a:pt x="860728" y="1680711"/>
                </a:cubicBezTo>
                <a:cubicBezTo>
                  <a:pt x="862316" y="1681765"/>
                  <a:pt x="863903" y="1682845"/>
                  <a:pt x="865478" y="1683962"/>
                </a:cubicBezTo>
                <a:cubicBezTo>
                  <a:pt x="867180" y="1685181"/>
                  <a:pt x="868882" y="1686426"/>
                  <a:pt x="870571" y="1687721"/>
                </a:cubicBezTo>
                <a:cubicBezTo>
                  <a:pt x="872425" y="1689144"/>
                  <a:pt x="874279" y="1690604"/>
                  <a:pt x="876108" y="1692103"/>
                </a:cubicBezTo>
                <a:cubicBezTo>
                  <a:pt x="876921" y="1692776"/>
                  <a:pt x="877746" y="1693462"/>
                  <a:pt x="878559" y="1694148"/>
                </a:cubicBezTo>
                <a:cubicBezTo>
                  <a:pt x="887081" y="1701374"/>
                  <a:pt x="895285" y="1709489"/>
                  <a:pt x="902664" y="1717935"/>
                </a:cubicBezTo>
                <a:lnTo>
                  <a:pt x="903108" y="1770627"/>
                </a:lnTo>
                <a:lnTo>
                  <a:pt x="903108" y="1772100"/>
                </a:lnTo>
                <a:lnTo>
                  <a:pt x="903121" y="1772621"/>
                </a:lnTo>
                <a:lnTo>
                  <a:pt x="903121" y="1773230"/>
                </a:lnTo>
                <a:lnTo>
                  <a:pt x="903133" y="1773891"/>
                </a:lnTo>
                <a:lnTo>
                  <a:pt x="903133" y="1774627"/>
                </a:lnTo>
                <a:lnTo>
                  <a:pt x="903146" y="1775440"/>
                </a:lnTo>
                <a:lnTo>
                  <a:pt x="903146" y="1776304"/>
                </a:lnTo>
                <a:lnTo>
                  <a:pt x="903159" y="1777243"/>
                </a:lnTo>
                <a:lnTo>
                  <a:pt x="903159" y="1778247"/>
                </a:lnTo>
                <a:lnTo>
                  <a:pt x="903172" y="1779301"/>
                </a:lnTo>
                <a:lnTo>
                  <a:pt x="903184" y="1780418"/>
                </a:lnTo>
                <a:lnTo>
                  <a:pt x="903197" y="1781600"/>
                </a:lnTo>
                <a:lnTo>
                  <a:pt x="903197" y="1782819"/>
                </a:lnTo>
                <a:lnTo>
                  <a:pt x="903235" y="1786857"/>
                </a:lnTo>
                <a:lnTo>
                  <a:pt x="903299" y="1795062"/>
                </a:lnTo>
                <a:lnTo>
                  <a:pt x="903375" y="1803024"/>
                </a:lnTo>
                <a:lnTo>
                  <a:pt x="903438" y="1810759"/>
                </a:lnTo>
                <a:lnTo>
                  <a:pt x="903502" y="1818265"/>
                </a:lnTo>
                <a:lnTo>
                  <a:pt x="903553" y="1825554"/>
                </a:lnTo>
                <a:lnTo>
                  <a:pt x="903616" y="1832628"/>
                </a:lnTo>
                <a:lnTo>
                  <a:pt x="903629" y="1834558"/>
                </a:lnTo>
                <a:cubicBezTo>
                  <a:pt x="903642" y="1836083"/>
                  <a:pt x="903642" y="1837721"/>
                  <a:pt x="903654" y="1839448"/>
                </a:cubicBezTo>
                <a:cubicBezTo>
                  <a:pt x="903654" y="1841505"/>
                  <a:pt x="903642" y="1843702"/>
                  <a:pt x="903629" y="1846001"/>
                </a:cubicBezTo>
                <a:cubicBezTo>
                  <a:pt x="903603" y="1848020"/>
                  <a:pt x="903565" y="1850116"/>
                  <a:pt x="903514" y="1852262"/>
                </a:cubicBezTo>
                <a:cubicBezTo>
                  <a:pt x="903464" y="1854218"/>
                  <a:pt x="903400" y="1856212"/>
                  <a:pt x="903311" y="1858231"/>
                </a:cubicBezTo>
                <a:cubicBezTo>
                  <a:pt x="903235" y="1860111"/>
                  <a:pt x="903133" y="1862003"/>
                  <a:pt x="903007" y="1863908"/>
                </a:cubicBezTo>
                <a:cubicBezTo>
                  <a:pt x="902892" y="1865699"/>
                  <a:pt x="902752" y="1867489"/>
                  <a:pt x="902587" y="1869267"/>
                </a:cubicBezTo>
                <a:cubicBezTo>
                  <a:pt x="902435" y="1870969"/>
                  <a:pt x="902257" y="1872658"/>
                  <a:pt x="902067" y="1874335"/>
                </a:cubicBezTo>
                <a:cubicBezTo>
                  <a:pt x="901876" y="1875935"/>
                  <a:pt x="901660" y="1877522"/>
                  <a:pt x="901419" y="1879084"/>
                </a:cubicBezTo>
                <a:cubicBezTo>
                  <a:pt x="901190" y="1880596"/>
                  <a:pt x="900936" y="1882082"/>
                  <a:pt x="900657" y="1883530"/>
                </a:cubicBezTo>
                <a:cubicBezTo>
                  <a:pt x="900390" y="1884939"/>
                  <a:pt x="900098" y="1886324"/>
                  <a:pt x="899781" y="1887670"/>
                </a:cubicBezTo>
                <a:cubicBezTo>
                  <a:pt x="899463" y="1888978"/>
                  <a:pt x="899133" y="1890248"/>
                  <a:pt x="898765" y="1891480"/>
                </a:cubicBezTo>
                <a:cubicBezTo>
                  <a:pt x="898409" y="1892674"/>
                  <a:pt x="898028" y="1893842"/>
                  <a:pt x="897622" y="1894959"/>
                </a:cubicBezTo>
                <a:cubicBezTo>
                  <a:pt x="897228" y="1896052"/>
                  <a:pt x="896796" y="1897106"/>
                  <a:pt x="896339" y="1898109"/>
                </a:cubicBezTo>
                <a:cubicBezTo>
                  <a:pt x="895882" y="1899100"/>
                  <a:pt x="895412" y="1900052"/>
                  <a:pt x="894904" y="1900941"/>
                </a:cubicBezTo>
                <a:cubicBezTo>
                  <a:pt x="894383" y="1901830"/>
                  <a:pt x="893837" y="1902681"/>
                  <a:pt x="893253" y="1903456"/>
                </a:cubicBezTo>
                <a:cubicBezTo>
                  <a:pt x="891869" y="1905323"/>
                  <a:pt x="890281" y="1906834"/>
                  <a:pt x="888490" y="1907863"/>
                </a:cubicBezTo>
                <a:cubicBezTo>
                  <a:pt x="885658" y="1909514"/>
                  <a:pt x="882496" y="1910263"/>
                  <a:pt x="879118" y="1910263"/>
                </a:cubicBezTo>
                <a:cubicBezTo>
                  <a:pt x="861986" y="1910263"/>
                  <a:pt x="839113" y="1890972"/>
                  <a:pt x="822806" y="1871922"/>
                </a:cubicBezTo>
                <a:lnTo>
                  <a:pt x="819123" y="1867629"/>
                </a:lnTo>
                <a:lnTo>
                  <a:pt x="814437" y="1870779"/>
                </a:lnTo>
                <a:cubicBezTo>
                  <a:pt x="791780" y="1885993"/>
                  <a:pt x="770647" y="1903291"/>
                  <a:pt x="751306" y="1922430"/>
                </a:cubicBezTo>
                <a:cubicBezTo>
                  <a:pt x="741984" y="1931650"/>
                  <a:pt x="733081" y="1941302"/>
                  <a:pt x="724623" y="1951360"/>
                </a:cubicBezTo>
                <a:lnTo>
                  <a:pt x="720965" y="1955691"/>
                </a:lnTo>
                <a:lnTo>
                  <a:pt x="724851" y="1959806"/>
                </a:lnTo>
                <a:cubicBezTo>
                  <a:pt x="727899" y="1963031"/>
                  <a:pt x="730859" y="1966486"/>
                  <a:pt x="733678" y="1970105"/>
                </a:cubicBezTo>
                <a:cubicBezTo>
                  <a:pt x="735418" y="1972328"/>
                  <a:pt x="737094" y="1974614"/>
                  <a:pt x="738707" y="1976938"/>
                </a:cubicBezTo>
                <a:cubicBezTo>
                  <a:pt x="740104" y="1978944"/>
                  <a:pt x="741450" y="1980976"/>
                  <a:pt x="742733" y="1983034"/>
                </a:cubicBezTo>
                <a:cubicBezTo>
                  <a:pt x="743876" y="1984863"/>
                  <a:pt x="744968" y="1986704"/>
                  <a:pt x="746010" y="1988546"/>
                </a:cubicBezTo>
                <a:cubicBezTo>
                  <a:pt x="746962" y="1990235"/>
                  <a:pt x="747864" y="1991936"/>
                  <a:pt x="748727" y="1993626"/>
                </a:cubicBezTo>
                <a:cubicBezTo>
                  <a:pt x="749515" y="1995213"/>
                  <a:pt x="750277" y="1996788"/>
                  <a:pt x="750975" y="1998363"/>
                </a:cubicBezTo>
                <a:cubicBezTo>
                  <a:pt x="751636" y="1999849"/>
                  <a:pt x="752258" y="2001334"/>
                  <a:pt x="752829" y="2002795"/>
                </a:cubicBezTo>
                <a:cubicBezTo>
                  <a:pt x="753376" y="2004205"/>
                  <a:pt x="753871" y="2005589"/>
                  <a:pt x="754328" y="2006960"/>
                </a:cubicBezTo>
                <a:cubicBezTo>
                  <a:pt x="754760" y="2008281"/>
                  <a:pt x="755141" y="2009589"/>
                  <a:pt x="755484" y="2010872"/>
                </a:cubicBezTo>
                <a:cubicBezTo>
                  <a:pt x="755814" y="2012130"/>
                  <a:pt x="756093" y="2013361"/>
                  <a:pt x="756335" y="2014568"/>
                </a:cubicBezTo>
                <a:cubicBezTo>
                  <a:pt x="756563" y="2015749"/>
                  <a:pt x="756741" y="2016905"/>
                  <a:pt x="756868" y="2018035"/>
                </a:cubicBezTo>
                <a:cubicBezTo>
                  <a:pt x="757008" y="2019140"/>
                  <a:pt x="757084" y="2020232"/>
                  <a:pt x="757122" y="2021286"/>
                </a:cubicBezTo>
                <a:cubicBezTo>
                  <a:pt x="757147" y="2022328"/>
                  <a:pt x="757135" y="2023344"/>
                  <a:pt x="757071" y="2024334"/>
                </a:cubicBezTo>
                <a:cubicBezTo>
                  <a:pt x="756995" y="2025299"/>
                  <a:pt x="756881" y="2026252"/>
                  <a:pt x="756716" y="2027154"/>
                </a:cubicBezTo>
                <a:cubicBezTo>
                  <a:pt x="756551" y="2028055"/>
                  <a:pt x="756322" y="2028932"/>
                  <a:pt x="756055" y="2029770"/>
                </a:cubicBezTo>
                <a:cubicBezTo>
                  <a:pt x="755776" y="2030608"/>
                  <a:pt x="755458" y="2031408"/>
                  <a:pt x="755077" y="2032170"/>
                </a:cubicBezTo>
                <a:cubicBezTo>
                  <a:pt x="754925" y="2032449"/>
                  <a:pt x="754773" y="2032729"/>
                  <a:pt x="754620" y="2033008"/>
                </a:cubicBezTo>
                <a:cubicBezTo>
                  <a:pt x="754353" y="2033465"/>
                  <a:pt x="754061" y="2033923"/>
                  <a:pt x="753744" y="2034354"/>
                </a:cubicBezTo>
                <a:cubicBezTo>
                  <a:pt x="748524" y="2041543"/>
                  <a:pt x="736878" y="2044667"/>
                  <a:pt x="722731" y="2044667"/>
                </a:cubicBezTo>
                <a:cubicBezTo>
                  <a:pt x="708125" y="2044667"/>
                  <a:pt x="690854" y="2041352"/>
                  <a:pt x="675182" y="2035789"/>
                </a:cubicBezTo>
                <a:lnTo>
                  <a:pt x="671486" y="2034481"/>
                </a:lnTo>
                <a:lnTo>
                  <a:pt x="669860" y="2033897"/>
                </a:lnTo>
                <a:lnTo>
                  <a:pt x="667359" y="2038977"/>
                </a:lnTo>
                <a:cubicBezTo>
                  <a:pt x="649477" y="2075286"/>
                  <a:pt x="636841" y="2113894"/>
                  <a:pt x="629830" y="2153709"/>
                </a:cubicBezTo>
                <a:lnTo>
                  <a:pt x="628840" y="2159284"/>
                </a:lnTo>
                <a:lnTo>
                  <a:pt x="634250" y="2160897"/>
                </a:lnTo>
                <a:cubicBezTo>
                  <a:pt x="654621" y="2166993"/>
                  <a:pt x="676071" y="2178652"/>
                  <a:pt x="687780" y="2191275"/>
                </a:cubicBezTo>
                <a:cubicBezTo>
                  <a:pt x="687907" y="2191415"/>
                  <a:pt x="688047" y="2191567"/>
                  <a:pt x="688174" y="2191707"/>
                </a:cubicBezTo>
                <a:cubicBezTo>
                  <a:pt x="688949" y="2192571"/>
                  <a:pt x="689685" y="2193422"/>
                  <a:pt x="690371" y="2194285"/>
                </a:cubicBezTo>
                <a:cubicBezTo>
                  <a:pt x="691006" y="2195098"/>
                  <a:pt x="691615" y="2195911"/>
                  <a:pt x="692162" y="2196736"/>
                </a:cubicBezTo>
                <a:cubicBezTo>
                  <a:pt x="692695" y="2197511"/>
                  <a:pt x="693190" y="2198286"/>
                  <a:pt x="693622" y="2199073"/>
                </a:cubicBezTo>
                <a:cubicBezTo>
                  <a:pt x="694054" y="2199822"/>
                  <a:pt x="694435" y="2200572"/>
                  <a:pt x="694778" y="2201321"/>
                </a:cubicBezTo>
                <a:cubicBezTo>
                  <a:pt x="695108" y="2202045"/>
                  <a:pt x="695400" y="2202781"/>
                  <a:pt x="695654" y="2203505"/>
                </a:cubicBezTo>
                <a:cubicBezTo>
                  <a:pt x="695895" y="2204204"/>
                  <a:pt x="696099" y="2204915"/>
                  <a:pt x="696264" y="2205614"/>
                </a:cubicBezTo>
                <a:cubicBezTo>
                  <a:pt x="696416" y="2206312"/>
                  <a:pt x="696530" y="2206998"/>
                  <a:pt x="696607" y="2207684"/>
                </a:cubicBezTo>
                <a:cubicBezTo>
                  <a:pt x="696670" y="2208268"/>
                  <a:pt x="696696" y="2208852"/>
                  <a:pt x="696696" y="2209436"/>
                </a:cubicBezTo>
                <a:cubicBezTo>
                  <a:pt x="696696" y="2209525"/>
                  <a:pt x="696696" y="2209614"/>
                  <a:pt x="696696" y="2209703"/>
                </a:cubicBezTo>
                <a:cubicBezTo>
                  <a:pt x="696683" y="2210363"/>
                  <a:pt x="696632" y="2211036"/>
                  <a:pt x="696530" y="2211697"/>
                </a:cubicBezTo>
                <a:cubicBezTo>
                  <a:pt x="696429" y="2212357"/>
                  <a:pt x="696289" y="2213018"/>
                  <a:pt x="696111" y="2213665"/>
                </a:cubicBezTo>
                <a:cubicBezTo>
                  <a:pt x="695934" y="2214326"/>
                  <a:pt x="695718" y="2214973"/>
                  <a:pt x="695451" y="2215621"/>
                </a:cubicBezTo>
                <a:cubicBezTo>
                  <a:pt x="695197" y="2216269"/>
                  <a:pt x="694892" y="2216917"/>
                  <a:pt x="694562" y="2217564"/>
                </a:cubicBezTo>
                <a:cubicBezTo>
                  <a:pt x="694232" y="2218199"/>
                  <a:pt x="693851" y="2218847"/>
                  <a:pt x="693444" y="2219482"/>
                </a:cubicBezTo>
                <a:cubicBezTo>
                  <a:pt x="693038" y="2220117"/>
                  <a:pt x="692594" y="2220752"/>
                  <a:pt x="692111" y="2221387"/>
                </a:cubicBezTo>
                <a:cubicBezTo>
                  <a:pt x="691628" y="2222022"/>
                  <a:pt x="691120" y="2222644"/>
                  <a:pt x="690574" y="2223267"/>
                </a:cubicBezTo>
                <a:cubicBezTo>
                  <a:pt x="679259" y="2236144"/>
                  <a:pt x="653986" y="2246965"/>
                  <a:pt x="629360" y="2251524"/>
                </a:cubicBezTo>
                <a:lnTo>
                  <a:pt x="627760" y="2251829"/>
                </a:lnTo>
                <a:lnTo>
                  <a:pt x="623798" y="2252565"/>
                </a:lnTo>
                <a:lnTo>
                  <a:pt x="624166" y="2258191"/>
                </a:lnTo>
                <a:cubicBezTo>
                  <a:pt x="626833" y="2298653"/>
                  <a:pt x="635177" y="2338404"/>
                  <a:pt x="648944" y="2376339"/>
                </a:cubicBezTo>
                <a:lnTo>
                  <a:pt x="650861" y="2381661"/>
                </a:lnTo>
                <a:lnTo>
                  <a:pt x="656373" y="2380352"/>
                </a:lnTo>
                <a:cubicBezTo>
                  <a:pt x="667282" y="2377774"/>
                  <a:pt x="679233" y="2376377"/>
                  <a:pt x="690498" y="2376377"/>
                </a:cubicBezTo>
                <a:cubicBezTo>
                  <a:pt x="710767" y="2376377"/>
                  <a:pt x="728839" y="2380886"/>
                  <a:pt x="734745" y="2391147"/>
                </a:cubicBezTo>
                <a:cubicBezTo>
                  <a:pt x="741425" y="2402717"/>
                  <a:pt x="732420" y="2422707"/>
                  <a:pt x="717282" y="2441160"/>
                </a:cubicBezTo>
                <a:cubicBezTo>
                  <a:pt x="716825" y="2441706"/>
                  <a:pt x="716368" y="2442265"/>
                  <a:pt x="715898" y="2442824"/>
                </a:cubicBezTo>
                <a:cubicBezTo>
                  <a:pt x="715834" y="2442900"/>
                  <a:pt x="715758" y="2442989"/>
                  <a:pt x="715695" y="2443065"/>
                </a:cubicBezTo>
                <a:cubicBezTo>
                  <a:pt x="715123" y="2443738"/>
                  <a:pt x="714564" y="2444386"/>
                  <a:pt x="713980" y="2445046"/>
                </a:cubicBezTo>
                <a:cubicBezTo>
                  <a:pt x="713396" y="2445719"/>
                  <a:pt x="712799" y="2446392"/>
                  <a:pt x="712190" y="2447065"/>
                </a:cubicBezTo>
                <a:cubicBezTo>
                  <a:pt x="711618" y="2447700"/>
                  <a:pt x="711021" y="2448335"/>
                  <a:pt x="710437" y="2448958"/>
                </a:cubicBezTo>
                <a:cubicBezTo>
                  <a:pt x="709853" y="2449593"/>
                  <a:pt x="709256" y="2450215"/>
                  <a:pt x="708646" y="2450837"/>
                </a:cubicBezTo>
                <a:cubicBezTo>
                  <a:pt x="705090" y="2454520"/>
                  <a:pt x="701344" y="2458063"/>
                  <a:pt x="697483" y="2461365"/>
                </a:cubicBezTo>
                <a:lnTo>
                  <a:pt x="697166" y="2461619"/>
                </a:lnTo>
                <a:lnTo>
                  <a:pt x="693190" y="2465023"/>
                </a:lnTo>
                <a:lnTo>
                  <a:pt x="696340" y="2469722"/>
                </a:lnTo>
                <a:cubicBezTo>
                  <a:pt x="718844" y="2503237"/>
                  <a:pt x="745946" y="2533451"/>
                  <a:pt x="776921" y="2559523"/>
                </a:cubicBezTo>
                <a:lnTo>
                  <a:pt x="781252" y="2563168"/>
                </a:lnTo>
                <a:lnTo>
                  <a:pt x="785367" y="2559295"/>
                </a:lnTo>
                <a:cubicBezTo>
                  <a:pt x="803896" y="2541833"/>
                  <a:pt x="830134" y="2526999"/>
                  <a:pt x="847863" y="2526999"/>
                </a:cubicBezTo>
                <a:cubicBezTo>
                  <a:pt x="851940" y="2526999"/>
                  <a:pt x="855572" y="2527799"/>
                  <a:pt x="858557" y="2529514"/>
                </a:cubicBezTo>
                <a:cubicBezTo>
                  <a:pt x="874660" y="2538797"/>
                  <a:pt x="872615" y="2577215"/>
                  <a:pt x="861325" y="2608990"/>
                </a:cubicBezTo>
                <a:lnTo>
                  <a:pt x="859433" y="2614311"/>
                </a:lnTo>
                <a:lnTo>
                  <a:pt x="864500" y="2616813"/>
                </a:lnTo>
                <a:cubicBezTo>
                  <a:pt x="900835" y="2634682"/>
                  <a:pt x="939443" y="2647306"/>
                  <a:pt x="979270" y="2654329"/>
                </a:cubicBezTo>
                <a:lnTo>
                  <a:pt x="984845" y="2655319"/>
                </a:lnTo>
                <a:lnTo>
                  <a:pt x="986090" y="2651128"/>
                </a:lnTo>
                <a:lnTo>
                  <a:pt x="986458" y="2649896"/>
                </a:lnTo>
                <a:cubicBezTo>
                  <a:pt x="992592" y="2629399"/>
                  <a:pt x="1004365" y="2607783"/>
                  <a:pt x="1017078" y="2596125"/>
                </a:cubicBezTo>
                <a:cubicBezTo>
                  <a:pt x="1017713" y="2595553"/>
                  <a:pt x="1018335" y="2595020"/>
                  <a:pt x="1018957" y="2594487"/>
                </a:cubicBezTo>
                <a:cubicBezTo>
                  <a:pt x="1019580" y="2593966"/>
                  <a:pt x="1020202" y="2593471"/>
                  <a:pt x="1020837" y="2593013"/>
                </a:cubicBezTo>
                <a:cubicBezTo>
                  <a:pt x="1021459" y="2592543"/>
                  <a:pt x="1022082" y="2592112"/>
                  <a:pt x="1022704" y="2591693"/>
                </a:cubicBezTo>
                <a:cubicBezTo>
                  <a:pt x="1023326" y="2591286"/>
                  <a:pt x="1023948" y="2590892"/>
                  <a:pt x="1024583" y="2590537"/>
                </a:cubicBezTo>
                <a:cubicBezTo>
                  <a:pt x="1025206" y="2590181"/>
                  <a:pt x="1025828" y="2589851"/>
                  <a:pt x="1026450" y="2589559"/>
                </a:cubicBezTo>
                <a:cubicBezTo>
                  <a:pt x="1027072" y="2589254"/>
                  <a:pt x="1027708" y="2588988"/>
                  <a:pt x="1028330" y="2588746"/>
                </a:cubicBezTo>
                <a:cubicBezTo>
                  <a:pt x="1028952" y="2588505"/>
                  <a:pt x="1029587" y="2588302"/>
                  <a:pt x="1030209" y="2588124"/>
                </a:cubicBezTo>
                <a:cubicBezTo>
                  <a:pt x="1030844" y="2587946"/>
                  <a:pt x="1031467" y="2587806"/>
                  <a:pt x="1032102" y="2587692"/>
                </a:cubicBezTo>
                <a:cubicBezTo>
                  <a:pt x="1032737" y="2587578"/>
                  <a:pt x="1033359" y="2587514"/>
                  <a:pt x="1033994" y="2587463"/>
                </a:cubicBezTo>
                <a:cubicBezTo>
                  <a:pt x="1034324" y="2587451"/>
                  <a:pt x="1034654" y="2587438"/>
                  <a:pt x="1034972" y="2587438"/>
                </a:cubicBezTo>
                <a:cubicBezTo>
                  <a:pt x="1035289" y="2587438"/>
                  <a:pt x="1035594" y="2587451"/>
                  <a:pt x="1035899" y="2587463"/>
                </a:cubicBezTo>
                <a:cubicBezTo>
                  <a:pt x="1036547" y="2587514"/>
                  <a:pt x="1037194" y="2587590"/>
                  <a:pt x="1037829" y="2587705"/>
                </a:cubicBezTo>
                <a:cubicBezTo>
                  <a:pt x="1038490" y="2587832"/>
                  <a:pt x="1039137" y="2587997"/>
                  <a:pt x="1039798" y="2588200"/>
                </a:cubicBezTo>
                <a:cubicBezTo>
                  <a:pt x="1040471" y="2588416"/>
                  <a:pt x="1041144" y="2588657"/>
                  <a:pt x="1041804" y="2588962"/>
                </a:cubicBezTo>
                <a:cubicBezTo>
                  <a:pt x="1042503" y="2589254"/>
                  <a:pt x="1043189" y="2589610"/>
                  <a:pt x="1043887" y="2590004"/>
                </a:cubicBezTo>
                <a:cubicBezTo>
                  <a:pt x="1044611" y="2590410"/>
                  <a:pt x="1045335" y="2590880"/>
                  <a:pt x="1046046" y="2591388"/>
                </a:cubicBezTo>
                <a:cubicBezTo>
                  <a:pt x="1060143" y="2601294"/>
                  <a:pt x="1072196" y="2628421"/>
                  <a:pt x="1077085" y="2654811"/>
                </a:cubicBezTo>
                <a:lnTo>
                  <a:pt x="1078126" y="2660361"/>
                </a:lnTo>
                <a:lnTo>
                  <a:pt x="1083752" y="2659993"/>
                </a:lnTo>
                <a:cubicBezTo>
                  <a:pt x="1124151" y="2657326"/>
                  <a:pt x="1163889" y="2648995"/>
                  <a:pt x="1201900" y="2635253"/>
                </a:cubicBezTo>
                <a:lnTo>
                  <a:pt x="1207222" y="2633323"/>
                </a:lnTo>
                <a:lnTo>
                  <a:pt x="1206701" y="2631113"/>
                </a:lnTo>
                <a:lnTo>
                  <a:pt x="1205913" y="2627811"/>
                </a:lnTo>
                <a:cubicBezTo>
                  <a:pt x="1198941" y="2598373"/>
                  <a:pt x="1200618" y="2561365"/>
                  <a:pt x="1215045" y="2550507"/>
                </a:cubicBezTo>
                <a:cubicBezTo>
                  <a:pt x="1215578" y="2550100"/>
                  <a:pt x="1216137" y="2549745"/>
                  <a:pt x="1216709" y="2549414"/>
                </a:cubicBezTo>
                <a:cubicBezTo>
                  <a:pt x="1216848" y="2549325"/>
                  <a:pt x="1216988" y="2549249"/>
                  <a:pt x="1217127" y="2549173"/>
                </a:cubicBezTo>
                <a:cubicBezTo>
                  <a:pt x="1217839" y="2548792"/>
                  <a:pt x="1218588" y="2548462"/>
                  <a:pt x="1219350" y="2548195"/>
                </a:cubicBezTo>
                <a:cubicBezTo>
                  <a:pt x="1220125" y="2547928"/>
                  <a:pt x="1220925" y="2547713"/>
                  <a:pt x="1221738" y="2547560"/>
                </a:cubicBezTo>
                <a:cubicBezTo>
                  <a:pt x="1222563" y="2547395"/>
                  <a:pt x="1223414" y="2547281"/>
                  <a:pt x="1224290" y="2547230"/>
                </a:cubicBezTo>
                <a:cubicBezTo>
                  <a:pt x="1224798" y="2547192"/>
                  <a:pt x="1225306" y="2547179"/>
                  <a:pt x="1225827" y="2547179"/>
                </a:cubicBezTo>
                <a:cubicBezTo>
                  <a:pt x="1226221" y="2547179"/>
                  <a:pt x="1226602" y="2547192"/>
                  <a:pt x="1227008" y="2547204"/>
                </a:cubicBezTo>
                <a:cubicBezTo>
                  <a:pt x="1227948" y="2547255"/>
                  <a:pt x="1228913" y="2547344"/>
                  <a:pt x="1229891" y="2547484"/>
                </a:cubicBezTo>
                <a:cubicBezTo>
                  <a:pt x="1230894" y="2547636"/>
                  <a:pt x="1231910" y="2547827"/>
                  <a:pt x="1232952" y="2548068"/>
                </a:cubicBezTo>
                <a:cubicBezTo>
                  <a:pt x="1234006" y="2548322"/>
                  <a:pt x="1235085" y="2548614"/>
                  <a:pt x="1236177" y="2548957"/>
                </a:cubicBezTo>
                <a:cubicBezTo>
                  <a:pt x="1237308" y="2549313"/>
                  <a:pt x="1238438" y="2549706"/>
                  <a:pt x="1239606" y="2550164"/>
                </a:cubicBezTo>
                <a:cubicBezTo>
                  <a:pt x="1240788" y="2550621"/>
                  <a:pt x="1241994" y="2551141"/>
                  <a:pt x="1243213" y="2551700"/>
                </a:cubicBezTo>
                <a:cubicBezTo>
                  <a:pt x="1244483" y="2552285"/>
                  <a:pt x="1245766" y="2552920"/>
                  <a:pt x="1247061" y="2553593"/>
                </a:cubicBezTo>
                <a:cubicBezTo>
                  <a:pt x="1248408" y="2554304"/>
                  <a:pt x="1249779" y="2555079"/>
                  <a:pt x="1251151" y="2555891"/>
                </a:cubicBezTo>
                <a:cubicBezTo>
                  <a:pt x="1252598" y="2556755"/>
                  <a:pt x="1254059" y="2557669"/>
                  <a:pt x="1255520" y="2558635"/>
                </a:cubicBezTo>
                <a:cubicBezTo>
                  <a:pt x="1257107" y="2559676"/>
                  <a:pt x="1258695" y="2560781"/>
                  <a:pt x="1260282" y="2561937"/>
                </a:cubicBezTo>
                <a:cubicBezTo>
                  <a:pt x="1262047" y="2563219"/>
                  <a:pt x="1263800" y="2564565"/>
                  <a:pt x="1265540" y="2565962"/>
                </a:cubicBezTo>
                <a:cubicBezTo>
                  <a:pt x="1267089" y="2567207"/>
                  <a:pt x="1268639" y="2568502"/>
                  <a:pt x="1270163" y="2569836"/>
                </a:cubicBezTo>
                <a:cubicBezTo>
                  <a:pt x="1275497" y="2574471"/>
                  <a:pt x="1280640" y="2579589"/>
                  <a:pt x="1285364" y="2584949"/>
                </a:cubicBezTo>
                <a:lnTo>
                  <a:pt x="1285364" y="3657639"/>
                </a:lnTo>
                <a:lnTo>
                  <a:pt x="1298064" y="3657639"/>
                </a:lnTo>
                <a:lnTo>
                  <a:pt x="1298064" y="2580237"/>
                </a:lnTo>
                <a:lnTo>
                  <a:pt x="1296540" y="2578459"/>
                </a:lnTo>
                <a:cubicBezTo>
                  <a:pt x="1281885" y="2561301"/>
                  <a:pt x="1251506" y="2534416"/>
                  <a:pt x="1225878" y="2534403"/>
                </a:cubicBezTo>
                <a:cubicBezTo>
                  <a:pt x="1220417" y="2534403"/>
                  <a:pt x="1215184" y="2535622"/>
                  <a:pt x="1210359" y="2538404"/>
                </a:cubicBezTo>
                <a:cubicBezTo>
                  <a:pt x="1208822" y="2539292"/>
                  <a:pt x="1207374" y="2540308"/>
                  <a:pt x="1206041" y="2541451"/>
                </a:cubicBezTo>
                <a:cubicBezTo>
                  <a:pt x="1204986" y="2542328"/>
                  <a:pt x="1203996" y="2543293"/>
                  <a:pt x="1203056" y="2544309"/>
                </a:cubicBezTo>
                <a:cubicBezTo>
                  <a:pt x="1202015" y="2545465"/>
                  <a:pt x="1201037" y="2546684"/>
                  <a:pt x="1200122" y="2547979"/>
                </a:cubicBezTo>
                <a:cubicBezTo>
                  <a:pt x="1199335" y="2549122"/>
                  <a:pt x="1198586" y="2550316"/>
                  <a:pt x="1197887" y="2551561"/>
                </a:cubicBezTo>
                <a:cubicBezTo>
                  <a:pt x="1197252" y="2552691"/>
                  <a:pt x="1196655" y="2553872"/>
                  <a:pt x="1196096" y="2555079"/>
                </a:cubicBezTo>
                <a:cubicBezTo>
                  <a:pt x="1195588" y="2556196"/>
                  <a:pt x="1195106" y="2557352"/>
                  <a:pt x="1194649" y="2558546"/>
                </a:cubicBezTo>
                <a:cubicBezTo>
                  <a:pt x="1194230" y="2559651"/>
                  <a:pt x="1193836" y="2560794"/>
                  <a:pt x="1193455" y="2561962"/>
                </a:cubicBezTo>
                <a:cubicBezTo>
                  <a:pt x="1193112" y="2563067"/>
                  <a:pt x="1192782" y="2564184"/>
                  <a:pt x="1192477" y="2565327"/>
                </a:cubicBezTo>
                <a:cubicBezTo>
                  <a:pt x="1192197" y="2566420"/>
                  <a:pt x="1191918" y="2567537"/>
                  <a:pt x="1191677" y="2568667"/>
                </a:cubicBezTo>
                <a:cubicBezTo>
                  <a:pt x="1191436" y="2569747"/>
                  <a:pt x="1191220" y="2570839"/>
                  <a:pt x="1191016" y="2571944"/>
                </a:cubicBezTo>
                <a:cubicBezTo>
                  <a:pt x="1190826" y="2573011"/>
                  <a:pt x="1190648" y="2574090"/>
                  <a:pt x="1190496" y="2575183"/>
                </a:cubicBezTo>
                <a:cubicBezTo>
                  <a:pt x="1190331" y="2576237"/>
                  <a:pt x="1190191" y="2577304"/>
                  <a:pt x="1190077" y="2578370"/>
                </a:cubicBezTo>
                <a:cubicBezTo>
                  <a:pt x="1189950" y="2579412"/>
                  <a:pt x="1189848" y="2580466"/>
                  <a:pt x="1189746" y="2581520"/>
                </a:cubicBezTo>
                <a:cubicBezTo>
                  <a:pt x="1189658" y="2582561"/>
                  <a:pt x="1189581" y="2583590"/>
                  <a:pt x="1189518" y="2584631"/>
                </a:cubicBezTo>
                <a:cubicBezTo>
                  <a:pt x="1189454" y="2585647"/>
                  <a:pt x="1189403" y="2586663"/>
                  <a:pt x="1189353" y="2587679"/>
                </a:cubicBezTo>
                <a:cubicBezTo>
                  <a:pt x="1189315" y="2588683"/>
                  <a:pt x="1189289" y="2589686"/>
                  <a:pt x="1189264" y="2590689"/>
                </a:cubicBezTo>
                <a:cubicBezTo>
                  <a:pt x="1189251" y="2591680"/>
                  <a:pt x="1189238" y="2592658"/>
                  <a:pt x="1189238" y="2593648"/>
                </a:cubicBezTo>
                <a:cubicBezTo>
                  <a:pt x="1189251" y="2594626"/>
                  <a:pt x="1189251" y="2595591"/>
                  <a:pt x="1189277" y="2596569"/>
                </a:cubicBezTo>
                <a:cubicBezTo>
                  <a:pt x="1189302" y="2597522"/>
                  <a:pt x="1189327" y="2598474"/>
                  <a:pt x="1189365" y="2599427"/>
                </a:cubicBezTo>
                <a:cubicBezTo>
                  <a:pt x="1189391" y="2600367"/>
                  <a:pt x="1189442" y="2601306"/>
                  <a:pt x="1189492" y="2602234"/>
                </a:cubicBezTo>
                <a:cubicBezTo>
                  <a:pt x="1189543" y="2603161"/>
                  <a:pt x="1189607" y="2604088"/>
                  <a:pt x="1189670" y="2605002"/>
                </a:cubicBezTo>
                <a:cubicBezTo>
                  <a:pt x="1189734" y="2605904"/>
                  <a:pt x="1189810" y="2606806"/>
                  <a:pt x="1189886" y="2607707"/>
                </a:cubicBezTo>
                <a:cubicBezTo>
                  <a:pt x="1189962" y="2608596"/>
                  <a:pt x="1190051" y="2609485"/>
                  <a:pt x="1190140" y="2610374"/>
                </a:cubicBezTo>
                <a:cubicBezTo>
                  <a:pt x="1190242" y="2611238"/>
                  <a:pt x="1190331" y="2612114"/>
                  <a:pt x="1190432" y="2612978"/>
                </a:cubicBezTo>
                <a:cubicBezTo>
                  <a:pt x="1190534" y="2613829"/>
                  <a:pt x="1190648" y="2614679"/>
                  <a:pt x="1190762" y="2615518"/>
                </a:cubicBezTo>
                <a:cubicBezTo>
                  <a:pt x="1190877" y="2616356"/>
                  <a:pt x="1190991" y="2617194"/>
                  <a:pt x="1191118" y="2618007"/>
                </a:cubicBezTo>
                <a:cubicBezTo>
                  <a:pt x="1191232" y="2618832"/>
                  <a:pt x="1191372" y="2619645"/>
                  <a:pt x="1191499" y="2620458"/>
                </a:cubicBezTo>
                <a:cubicBezTo>
                  <a:pt x="1191626" y="2621258"/>
                  <a:pt x="1191766" y="2622045"/>
                  <a:pt x="1191905" y="2622846"/>
                </a:cubicBezTo>
                <a:cubicBezTo>
                  <a:pt x="1192058" y="2623620"/>
                  <a:pt x="1192197" y="2624395"/>
                  <a:pt x="1192350" y="2625157"/>
                </a:cubicBezTo>
                <a:cubicBezTo>
                  <a:pt x="1158797" y="2636790"/>
                  <a:pt x="1123897" y="2644105"/>
                  <a:pt x="1088426" y="2646912"/>
                </a:cubicBezTo>
                <a:cubicBezTo>
                  <a:pt x="1082203" y="2619150"/>
                  <a:pt x="1064690" y="2574738"/>
                  <a:pt x="1034972" y="2574738"/>
                </a:cubicBezTo>
                <a:cubicBezTo>
                  <a:pt x="1025269" y="2574738"/>
                  <a:pt x="1016201" y="2579589"/>
                  <a:pt x="1008099" y="2587121"/>
                </a:cubicBezTo>
                <a:cubicBezTo>
                  <a:pt x="1007705" y="2587489"/>
                  <a:pt x="1007324" y="2587845"/>
                  <a:pt x="1006930" y="2588226"/>
                </a:cubicBezTo>
                <a:cubicBezTo>
                  <a:pt x="1005698" y="2589432"/>
                  <a:pt x="1004479" y="2590689"/>
                  <a:pt x="1003298" y="2592010"/>
                </a:cubicBezTo>
                <a:cubicBezTo>
                  <a:pt x="1002181" y="2593255"/>
                  <a:pt x="1001076" y="2594550"/>
                  <a:pt x="1000009" y="2595871"/>
                </a:cubicBezTo>
                <a:cubicBezTo>
                  <a:pt x="998980" y="2597141"/>
                  <a:pt x="997964" y="2598462"/>
                  <a:pt x="996986" y="2599795"/>
                </a:cubicBezTo>
                <a:cubicBezTo>
                  <a:pt x="996034" y="2601091"/>
                  <a:pt x="995107" y="2602424"/>
                  <a:pt x="994192" y="2603770"/>
                </a:cubicBezTo>
                <a:cubicBezTo>
                  <a:pt x="993316" y="2605091"/>
                  <a:pt x="992452" y="2606437"/>
                  <a:pt x="991601" y="2607796"/>
                </a:cubicBezTo>
                <a:cubicBezTo>
                  <a:pt x="990776" y="2609117"/>
                  <a:pt x="989963" y="2610476"/>
                  <a:pt x="989176" y="2611847"/>
                </a:cubicBezTo>
                <a:cubicBezTo>
                  <a:pt x="988401" y="2613194"/>
                  <a:pt x="987639" y="2614565"/>
                  <a:pt x="986903" y="2615924"/>
                </a:cubicBezTo>
                <a:cubicBezTo>
                  <a:pt x="986179" y="2617296"/>
                  <a:pt x="985467" y="2618655"/>
                  <a:pt x="984782" y="2620026"/>
                </a:cubicBezTo>
                <a:cubicBezTo>
                  <a:pt x="984083" y="2621410"/>
                  <a:pt x="983423" y="2622782"/>
                  <a:pt x="982775" y="2624154"/>
                </a:cubicBezTo>
                <a:cubicBezTo>
                  <a:pt x="982127" y="2625538"/>
                  <a:pt x="981505" y="2626922"/>
                  <a:pt x="980908" y="2628307"/>
                </a:cubicBezTo>
                <a:cubicBezTo>
                  <a:pt x="980299" y="2629704"/>
                  <a:pt x="979714" y="2631088"/>
                  <a:pt x="979168" y="2632459"/>
                </a:cubicBezTo>
                <a:cubicBezTo>
                  <a:pt x="978597" y="2633869"/>
                  <a:pt x="978051" y="2635266"/>
                  <a:pt x="977530" y="2636650"/>
                </a:cubicBezTo>
                <a:cubicBezTo>
                  <a:pt x="977009" y="2638060"/>
                  <a:pt x="976514" y="2639457"/>
                  <a:pt x="976031" y="2640829"/>
                </a:cubicBezTo>
                <a:cubicBezTo>
                  <a:pt x="941119" y="2634199"/>
                  <a:pt x="907210" y="2623112"/>
                  <a:pt x="875092" y="2607822"/>
                </a:cubicBezTo>
                <a:cubicBezTo>
                  <a:pt x="883614" y="2580631"/>
                  <a:pt x="890700" y="2533374"/>
                  <a:pt x="864907" y="2518515"/>
                </a:cubicBezTo>
                <a:cubicBezTo>
                  <a:pt x="859827" y="2515569"/>
                  <a:pt x="854048" y="2514299"/>
                  <a:pt x="847876" y="2514299"/>
                </a:cubicBezTo>
                <a:cubicBezTo>
                  <a:pt x="825727" y="2514286"/>
                  <a:pt x="798587" y="2530809"/>
                  <a:pt x="780884" y="2546214"/>
                </a:cubicBezTo>
                <a:cubicBezTo>
                  <a:pt x="753972" y="2522948"/>
                  <a:pt x="730160" y="2496417"/>
                  <a:pt x="709992" y="2467220"/>
                </a:cubicBezTo>
                <a:cubicBezTo>
                  <a:pt x="711237" y="2466064"/>
                  <a:pt x="712520" y="2464858"/>
                  <a:pt x="713815" y="2463575"/>
                </a:cubicBezTo>
                <a:cubicBezTo>
                  <a:pt x="714856" y="2462559"/>
                  <a:pt x="715898" y="2461505"/>
                  <a:pt x="716952" y="2460426"/>
                </a:cubicBezTo>
                <a:cubicBezTo>
                  <a:pt x="736751" y="2440030"/>
                  <a:pt x="758989" y="2407759"/>
                  <a:pt x="745755" y="2384797"/>
                </a:cubicBezTo>
                <a:cubicBezTo>
                  <a:pt x="736624" y="2368986"/>
                  <a:pt x="713726" y="2363690"/>
                  <a:pt x="690752" y="2363690"/>
                </a:cubicBezTo>
                <a:cubicBezTo>
                  <a:pt x="679677" y="2363690"/>
                  <a:pt x="668603" y="2364922"/>
                  <a:pt x="659027" y="2366789"/>
                </a:cubicBezTo>
                <a:cubicBezTo>
                  <a:pt x="647381" y="2333286"/>
                  <a:pt x="640054" y="2298387"/>
                  <a:pt x="637247" y="2262878"/>
                </a:cubicBezTo>
                <a:cubicBezTo>
                  <a:pt x="638542" y="2262586"/>
                  <a:pt x="639876" y="2262268"/>
                  <a:pt x="641235" y="2261925"/>
                </a:cubicBezTo>
                <a:cubicBezTo>
                  <a:pt x="642543" y="2261595"/>
                  <a:pt x="643876" y="2261252"/>
                  <a:pt x="645235" y="2260884"/>
                </a:cubicBezTo>
                <a:cubicBezTo>
                  <a:pt x="646543" y="2260516"/>
                  <a:pt x="647877" y="2260135"/>
                  <a:pt x="649223" y="2259728"/>
                </a:cubicBezTo>
                <a:cubicBezTo>
                  <a:pt x="650556" y="2259334"/>
                  <a:pt x="651890" y="2258928"/>
                  <a:pt x="653236" y="2258484"/>
                </a:cubicBezTo>
                <a:cubicBezTo>
                  <a:pt x="654570" y="2258064"/>
                  <a:pt x="655903" y="2257607"/>
                  <a:pt x="657249" y="2257137"/>
                </a:cubicBezTo>
                <a:cubicBezTo>
                  <a:pt x="658583" y="2256680"/>
                  <a:pt x="659916" y="2256185"/>
                  <a:pt x="661263" y="2255677"/>
                </a:cubicBezTo>
                <a:cubicBezTo>
                  <a:pt x="662609" y="2255182"/>
                  <a:pt x="663942" y="2254648"/>
                  <a:pt x="665276" y="2254102"/>
                </a:cubicBezTo>
                <a:cubicBezTo>
                  <a:pt x="666622" y="2253569"/>
                  <a:pt x="667956" y="2252997"/>
                  <a:pt x="669289" y="2252413"/>
                </a:cubicBezTo>
                <a:cubicBezTo>
                  <a:pt x="670622" y="2251816"/>
                  <a:pt x="671956" y="2251206"/>
                  <a:pt x="673290" y="2250571"/>
                </a:cubicBezTo>
                <a:cubicBezTo>
                  <a:pt x="674623" y="2249936"/>
                  <a:pt x="675956" y="2249276"/>
                  <a:pt x="677265" y="2248590"/>
                </a:cubicBezTo>
                <a:cubicBezTo>
                  <a:pt x="678611" y="2247892"/>
                  <a:pt x="679944" y="2247168"/>
                  <a:pt x="681240" y="2246419"/>
                </a:cubicBezTo>
                <a:cubicBezTo>
                  <a:pt x="682586" y="2245657"/>
                  <a:pt x="683907" y="2244856"/>
                  <a:pt x="685202" y="2244044"/>
                </a:cubicBezTo>
                <a:cubicBezTo>
                  <a:pt x="686536" y="2243193"/>
                  <a:pt x="687844" y="2242329"/>
                  <a:pt x="689114" y="2241427"/>
                </a:cubicBezTo>
                <a:cubicBezTo>
                  <a:pt x="690447" y="2240475"/>
                  <a:pt x="691743" y="2239497"/>
                  <a:pt x="692987" y="2238494"/>
                </a:cubicBezTo>
                <a:cubicBezTo>
                  <a:pt x="694321" y="2237414"/>
                  <a:pt x="695591" y="2236309"/>
                  <a:pt x="696797" y="2235166"/>
                </a:cubicBezTo>
                <a:cubicBezTo>
                  <a:pt x="697826" y="2234189"/>
                  <a:pt x="698804" y="2233198"/>
                  <a:pt x="699731" y="2232169"/>
                </a:cubicBezTo>
                <a:cubicBezTo>
                  <a:pt x="705687" y="2225603"/>
                  <a:pt x="709396" y="2218021"/>
                  <a:pt x="709396" y="2209436"/>
                </a:cubicBezTo>
                <a:cubicBezTo>
                  <a:pt x="709421" y="2182385"/>
                  <a:pt x="671740" y="2160211"/>
                  <a:pt x="643318" y="2150470"/>
                </a:cubicBezTo>
                <a:cubicBezTo>
                  <a:pt x="649972" y="2115571"/>
                  <a:pt x="661059" y="2081675"/>
                  <a:pt x="676350" y="2049556"/>
                </a:cubicBezTo>
                <a:cubicBezTo>
                  <a:pt x="676922" y="2049734"/>
                  <a:pt x="677493" y="2049912"/>
                  <a:pt x="678077" y="2050090"/>
                </a:cubicBezTo>
                <a:cubicBezTo>
                  <a:pt x="678674" y="2050267"/>
                  <a:pt x="679284" y="2050445"/>
                  <a:pt x="679894" y="2050623"/>
                </a:cubicBezTo>
                <a:cubicBezTo>
                  <a:pt x="680503" y="2050801"/>
                  <a:pt x="681125" y="2050979"/>
                  <a:pt x="681748" y="2051156"/>
                </a:cubicBezTo>
                <a:cubicBezTo>
                  <a:pt x="682383" y="2051334"/>
                  <a:pt x="683018" y="2051499"/>
                  <a:pt x="683665" y="2051677"/>
                </a:cubicBezTo>
                <a:cubicBezTo>
                  <a:pt x="684326" y="2051842"/>
                  <a:pt x="684986" y="2052020"/>
                  <a:pt x="685659" y="2052185"/>
                </a:cubicBezTo>
                <a:cubicBezTo>
                  <a:pt x="686320" y="2052363"/>
                  <a:pt x="687006" y="2052528"/>
                  <a:pt x="687691" y="2052693"/>
                </a:cubicBezTo>
                <a:cubicBezTo>
                  <a:pt x="688377" y="2052858"/>
                  <a:pt x="689076" y="2053023"/>
                  <a:pt x="689787" y="2053188"/>
                </a:cubicBezTo>
                <a:cubicBezTo>
                  <a:pt x="690498" y="2053353"/>
                  <a:pt x="691222" y="2053519"/>
                  <a:pt x="691946" y="2053671"/>
                </a:cubicBezTo>
                <a:cubicBezTo>
                  <a:pt x="692682" y="2053836"/>
                  <a:pt x="693419" y="2053988"/>
                  <a:pt x="694156" y="2054141"/>
                </a:cubicBezTo>
                <a:cubicBezTo>
                  <a:pt x="694905" y="2054293"/>
                  <a:pt x="695667" y="2054446"/>
                  <a:pt x="696429" y="2054585"/>
                </a:cubicBezTo>
                <a:cubicBezTo>
                  <a:pt x="697204" y="2054738"/>
                  <a:pt x="697978" y="2054878"/>
                  <a:pt x="698753" y="2055017"/>
                </a:cubicBezTo>
                <a:cubicBezTo>
                  <a:pt x="699553" y="2055157"/>
                  <a:pt x="700341" y="2055284"/>
                  <a:pt x="701140" y="2055424"/>
                </a:cubicBezTo>
                <a:cubicBezTo>
                  <a:pt x="701953" y="2055551"/>
                  <a:pt x="702766" y="2055678"/>
                  <a:pt x="703592" y="2055805"/>
                </a:cubicBezTo>
                <a:cubicBezTo>
                  <a:pt x="704417" y="2055919"/>
                  <a:pt x="705255" y="2056033"/>
                  <a:pt x="706081" y="2056147"/>
                </a:cubicBezTo>
                <a:cubicBezTo>
                  <a:pt x="706932" y="2056262"/>
                  <a:pt x="707783" y="2056363"/>
                  <a:pt x="708646" y="2056465"/>
                </a:cubicBezTo>
                <a:cubicBezTo>
                  <a:pt x="709510" y="2056554"/>
                  <a:pt x="710373" y="2056656"/>
                  <a:pt x="711250" y="2056732"/>
                </a:cubicBezTo>
                <a:cubicBezTo>
                  <a:pt x="712139" y="2056821"/>
                  <a:pt x="713028" y="2056897"/>
                  <a:pt x="713917" y="2056960"/>
                </a:cubicBezTo>
                <a:cubicBezTo>
                  <a:pt x="714831" y="2057037"/>
                  <a:pt x="715733" y="2057100"/>
                  <a:pt x="716634" y="2057151"/>
                </a:cubicBezTo>
                <a:cubicBezTo>
                  <a:pt x="717562" y="2057202"/>
                  <a:pt x="718489" y="2057240"/>
                  <a:pt x="719416" y="2057265"/>
                </a:cubicBezTo>
                <a:cubicBezTo>
                  <a:pt x="720356" y="2057303"/>
                  <a:pt x="721308" y="2057316"/>
                  <a:pt x="722248" y="2057329"/>
                </a:cubicBezTo>
                <a:cubicBezTo>
                  <a:pt x="722553" y="2057329"/>
                  <a:pt x="722883" y="2057329"/>
                  <a:pt x="723188" y="2057329"/>
                </a:cubicBezTo>
                <a:cubicBezTo>
                  <a:pt x="723835" y="2057329"/>
                  <a:pt x="724483" y="2057329"/>
                  <a:pt x="725131" y="2057316"/>
                </a:cubicBezTo>
                <a:cubicBezTo>
                  <a:pt x="726109" y="2057303"/>
                  <a:pt x="727099" y="2057265"/>
                  <a:pt x="728077" y="2057214"/>
                </a:cubicBezTo>
                <a:cubicBezTo>
                  <a:pt x="729081" y="2057163"/>
                  <a:pt x="730071" y="2057100"/>
                  <a:pt x="731062" y="2057024"/>
                </a:cubicBezTo>
                <a:cubicBezTo>
                  <a:pt x="732090" y="2056935"/>
                  <a:pt x="733106" y="2056833"/>
                  <a:pt x="734122" y="2056719"/>
                </a:cubicBezTo>
                <a:cubicBezTo>
                  <a:pt x="735164" y="2056592"/>
                  <a:pt x="736193" y="2056452"/>
                  <a:pt x="737221" y="2056287"/>
                </a:cubicBezTo>
                <a:cubicBezTo>
                  <a:pt x="739977" y="2055830"/>
                  <a:pt x="742657" y="2055220"/>
                  <a:pt x="745197" y="2054446"/>
                </a:cubicBezTo>
                <a:cubicBezTo>
                  <a:pt x="747546" y="2053722"/>
                  <a:pt x="749794" y="2052858"/>
                  <a:pt x="751902" y="2051817"/>
                </a:cubicBezTo>
                <a:cubicBezTo>
                  <a:pt x="753757" y="2050902"/>
                  <a:pt x="755522" y="2049861"/>
                  <a:pt x="757160" y="2048680"/>
                </a:cubicBezTo>
                <a:cubicBezTo>
                  <a:pt x="758646" y="2047601"/>
                  <a:pt x="760030" y="2046407"/>
                  <a:pt x="761300" y="2045086"/>
                </a:cubicBezTo>
                <a:cubicBezTo>
                  <a:pt x="761796" y="2044578"/>
                  <a:pt x="762253" y="2044070"/>
                  <a:pt x="762710" y="2043524"/>
                </a:cubicBezTo>
                <a:cubicBezTo>
                  <a:pt x="763777" y="2042241"/>
                  <a:pt x="764755" y="2040857"/>
                  <a:pt x="765618" y="2039358"/>
                </a:cubicBezTo>
                <a:cubicBezTo>
                  <a:pt x="779144" y="2015952"/>
                  <a:pt x="757617" y="1977954"/>
                  <a:pt x="737920" y="1955322"/>
                </a:cubicBezTo>
                <a:cubicBezTo>
                  <a:pt x="745159" y="1946953"/>
                  <a:pt x="752715" y="1938876"/>
                  <a:pt x="760576" y="1931116"/>
                </a:cubicBezTo>
                <a:cubicBezTo>
                  <a:pt x="761199" y="1930507"/>
                  <a:pt x="761821" y="1929897"/>
                  <a:pt x="762456" y="1929287"/>
                </a:cubicBezTo>
                <a:cubicBezTo>
                  <a:pt x="763078" y="1928665"/>
                  <a:pt x="763713" y="1928056"/>
                  <a:pt x="764348" y="1927446"/>
                </a:cubicBezTo>
                <a:cubicBezTo>
                  <a:pt x="764983" y="1926836"/>
                  <a:pt x="765618" y="1926227"/>
                  <a:pt x="766253" y="1925617"/>
                </a:cubicBezTo>
                <a:cubicBezTo>
                  <a:pt x="766901" y="1925008"/>
                  <a:pt x="767549" y="1924398"/>
                  <a:pt x="768196" y="1923788"/>
                </a:cubicBezTo>
                <a:cubicBezTo>
                  <a:pt x="768831" y="1923192"/>
                  <a:pt x="769479" y="1922595"/>
                  <a:pt x="770114" y="1921998"/>
                </a:cubicBezTo>
                <a:cubicBezTo>
                  <a:pt x="770762" y="1921388"/>
                  <a:pt x="771422" y="1920791"/>
                  <a:pt x="772070" y="1920194"/>
                </a:cubicBezTo>
                <a:cubicBezTo>
                  <a:pt x="772730" y="1919585"/>
                  <a:pt x="773391" y="1918988"/>
                  <a:pt x="774051" y="1918391"/>
                </a:cubicBezTo>
                <a:cubicBezTo>
                  <a:pt x="774711" y="1917807"/>
                  <a:pt x="775359" y="1917210"/>
                  <a:pt x="776020" y="1916638"/>
                </a:cubicBezTo>
                <a:cubicBezTo>
                  <a:pt x="776680" y="1916041"/>
                  <a:pt x="777353" y="1915445"/>
                  <a:pt x="778026" y="1914848"/>
                </a:cubicBezTo>
                <a:cubicBezTo>
                  <a:pt x="778674" y="1914276"/>
                  <a:pt x="779334" y="1913692"/>
                  <a:pt x="780007" y="1913121"/>
                </a:cubicBezTo>
                <a:cubicBezTo>
                  <a:pt x="781036" y="1912231"/>
                  <a:pt x="782065" y="1911330"/>
                  <a:pt x="783106" y="1910453"/>
                </a:cubicBezTo>
                <a:cubicBezTo>
                  <a:pt x="784440" y="1909310"/>
                  <a:pt x="785798" y="1908168"/>
                  <a:pt x="787157" y="1907037"/>
                </a:cubicBezTo>
                <a:cubicBezTo>
                  <a:pt x="788504" y="1905920"/>
                  <a:pt x="789875" y="1904789"/>
                  <a:pt x="791247" y="1903684"/>
                </a:cubicBezTo>
                <a:cubicBezTo>
                  <a:pt x="792618" y="1902580"/>
                  <a:pt x="793990" y="1901475"/>
                  <a:pt x="795374" y="1900382"/>
                </a:cubicBezTo>
                <a:cubicBezTo>
                  <a:pt x="796759" y="1899290"/>
                  <a:pt x="798156" y="1898198"/>
                  <a:pt x="799553" y="1897131"/>
                </a:cubicBezTo>
                <a:cubicBezTo>
                  <a:pt x="800950" y="1896052"/>
                  <a:pt x="802359" y="1894985"/>
                  <a:pt x="803769" y="1893918"/>
                </a:cubicBezTo>
                <a:cubicBezTo>
                  <a:pt x="805179" y="1892864"/>
                  <a:pt x="806601" y="1891810"/>
                  <a:pt x="808023" y="1890769"/>
                </a:cubicBezTo>
                <a:cubicBezTo>
                  <a:pt x="809459" y="1889727"/>
                  <a:pt x="810881" y="1888698"/>
                  <a:pt x="812316" y="1887682"/>
                </a:cubicBezTo>
                <a:cubicBezTo>
                  <a:pt x="813764" y="1886654"/>
                  <a:pt x="815199" y="1885651"/>
                  <a:pt x="816659" y="1884635"/>
                </a:cubicBezTo>
                <a:cubicBezTo>
                  <a:pt x="816748" y="1884584"/>
                  <a:pt x="816837" y="1884520"/>
                  <a:pt x="816926" y="1884457"/>
                </a:cubicBezTo>
                <a:cubicBezTo>
                  <a:pt x="821371" y="1889346"/>
                  <a:pt x="827658" y="1895798"/>
                  <a:pt x="835024" y="1902008"/>
                </a:cubicBezTo>
                <a:cubicBezTo>
                  <a:pt x="838059" y="1904586"/>
                  <a:pt x="841285" y="1907113"/>
                  <a:pt x="844638" y="1909476"/>
                </a:cubicBezTo>
                <a:cubicBezTo>
                  <a:pt x="846987" y="1911127"/>
                  <a:pt x="849400" y="1912701"/>
                  <a:pt x="851864" y="1914162"/>
                </a:cubicBezTo>
                <a:cubicBezTo>
                  <a:pt x="853820" y="1915318"/>
                  <a:pt x="855801" y="1916384"/>
                  <a:pt x="857807" y="1917362"/>
                </a:cubicBezTo>
                <a:cubicBezTo>
                  <a:pt x="859484" y="1918175"/>
                  <a:pt x="861173" y="1918924"/>
                  <a:pt x="862875" y="1919585"/>
                </a:cubicBezTo>
                <a:cubicBezTo>
                  <a:pt x="864335" y="1920156"/>
                  <a:pt x="865808" y="1920677"/>
                  <a:pt x="867294" y="1921109"/>
                </a:cubicBezTo>
                <a:cubicBezTo>
                  <a:pt x="868577" y="1921503"/>
                  <a:pt x="869872" y="1921833"/>
                  <a:pt x="871168" y="1922099"/>
                </a:cubicBezTo>
                <a:cubicBezTo>
                  <a:pt x="872311" y="1922341"/>
                  <a:pt x="873441" y="1922531"/>
                  <a:pt x="874571" y="1922684"/>
                </a:cubicBezTo>
                <a:cubicBezTo>
                  <a:pt x="875562" y="1922798"/>
                  <a:pt x="876553" y="1922887"/>
                  <a:pt x="877543" y="1922938"/>
                </a:cubicBezTo>
                <a:cubicBezTo>
                  <a:pt x="878114" y="1922963"/>
                  <a:pt x="878673" y="1922976"/>
                  <a:pt x="879245" y="1922976"/>
                </a:cubicBezTo>
                <a:cubicBezTo>
                  <a:pt x="879512" y="1922976"/>
                  <a:pt x="879778" y="1922976"/>
                  <a:pt x="880058" y="1922976"/>
                </a:cubicBezTo>
                <a:cubicBezTo>
                  <a:pt x="880718" y="1922950"/>
                  <a:pt x="881391" y="1922925"/>
                  <a:pt x="882052" y="1922861"/>
                </a:cubicBezTo>
                <a:cubicBezTo>
                  <a:pt x="882496" y="1922823"/>
                  <a:pt x="882941" y="1922785"/>
                  <a:pt x="883385" y="1922722"/>
                </a:cubicBezTo>
                <a:cubicBezTo>
                  <a:pt x="883474" y="1922709"/>
                  <a:pt x="883563" y="1922696"/>
                  <a:pt x="883652" y="1922684"/>
                </a:cubicBezTo>
                <a:cubicBezTo>
                  <a:pt x="887474" y="1922176"/>
                  <a:pt x="891234" y="1920944"/>
                  <a:pt x="894840" y="1918861"/>
                </a:cubicBezTo>
                <a:cubicBezTo>
                  <a:pt x="897584" y="1917273"/>
                  <a:pt x="899971" y="1915191"/>
                  <a:pt x="902067" y="1912689"/>
                </a:cubicBezTo>
                <a:cubicBezTo>
                  <a:pt x="916621" y="1895264"/>
                  <a:pt x="916443" y="1857977"/>
                  <a:pt x="916329" y="1834508"/>
                </a:cubicBezTo>
                <a:lnTo>
                  <a:pt x="915326" y="1713185"/>
                </a:lnTo>
                <a:lnTo>
                  <a:pt x="913814" y="1711432"/>
                </a:lnTo>
                <a:cubicBezTo>
                  <a:pt x="894117" y="1688369"/>
                  <a:pt x="853337" y="1652085"/>
                  <a:pt x="819288" y="1652085"/>
                </a:cubicBezTo>
                <a:cubicBezTo>
                  <a:pt x="812189" y="1652085"/>
                  <a:pt x="805382" y="1653673"/>
                  <a:pt x="799121" y="1657267"/>
                </a:cubicBezTo>
                <a:cubicBezTo>
                  <a:pt x="796873" y="1658575"/>
                  <a:pt x="794777" y="1660086"/>
                  <a:pt x="792847" y="1661788"/>
                </a:cubicBezTo>
                <a:cubicBezTo>
                  <a:pt x="791717" y="1662791"/>
                  <a:pt x="790637" y="1663858"/>
                  <a:pt x="789608" y="1664976"/>
                </a:cubicBezTo>
                <a:cubicBezTo>
                  <a:pt x="788542" y="1666144"/>
                  <a:pt x="787538" y="1667363"/>
                  <a:pt x="786586" y="1668659"/>
                </a:cubicBezTo>
                <a:cubicBezTo>
                  <a:pt x="785722" y="1669802"/>
                  <a:pt x="784910" y="1671008"/>
                  <a:pt x="784135" y="1672253"/>
                </a:cubicBezTo>
                <a:cubicBezTo>
                  <a:pt x="783424" y="1673396"/>
                  <a:pt x="782751" y="1674590"/>
                  <a:pt x="782103" y="1675809"/>
                </a:cubicBezTo>
                <a:cubicBezTo>
                  <a:pt x="781506" y="1676939"/>
                  <a:pt x="780934" y="1678108"/>
                  <a:pt x="780388" y="1679314"/>
                </a:cubicBezTo>
                <a:cubicBezTo>
                  <a:pt x="779868" y="1680432"/>
                  <a:pt x="779385" y="1681600"/>
                  <a:pt x="778915" y="1682781"/>
                </a:cubicBezTo>
                <a:cubicBezTo>
                  <a:pt x="778471" y="1683899"/>
                  <a:pt x="778051" y="1685042"/>
                  <a:pt x="777658" y="1686210"/>
                </a:cubicBezTo>
                <a:cubicBezTo>
                  <a:pt x="777277" y="1687328"/>
                  <a:pt x="776909" y="1688458"/>
                  <a:pt x="776566" y="1689601"/>
                </a:cubicBezTo>
                <a:cubicBezTo>
                  <a:pt x="776236" y="1690706"/>
                  <a:pt x="775918" y="1691836"/>
                  <a:pt x="775626" y="1692966"/>
                </a:cubicBezTo>
                <a:cubicBezTo>
                  <a:pt x="775346" y="1694059"/>
                  <a:pt x="775067" y="1695176"/>
                  <a:pt x="774813" y="1696294"/>
                </a:cubicBezTo>
                <a:cubicBezTo>
                  <a:pt x="774572" y="1697386"/>
                  <a:pt x="774343" y="1698478"/>
                  <a:pt x="774127" y="1699583"/>
                </a:cubicBezTo>
                <a:cubicBezTo>
                  <a:pt x="773911" y="1700663"/>
                  <a:pt x="773708" y="1701755"/>
                  <a:pt x="773530" y="1702860"/>
                </a:cubicBezTo>
                <a:cubicBezTo>
                  <a:pt x="773340" y="1703927"/>
                  <a:pt x="773175" y="1704993"/>
                  <a:pt x="773022" y="1706086"/>
                </a:cubicBezTo>
                <a:cubicBezTo>
                  <a:pt x="772870" y="1707140"/>
                  <a:pt x="772730" y="1708207"/>
                  <a:pt x="772603" y="1709286"/>
                </a:cubicBezTo>
                <a:cubicBezTo>
                  <a:pt x="772476" y="1710327"/>
                  <a:pt x="772362" y="1711382"/>
                  <a:pt x="772248" y="1712448"/>
                </a:cubicBezTo>
                <a:cubicBezTo>
                  <a:pt x="772146" y="1713477"/>
                  <a:pt x="772057" y="1714518"/>
                  <a:pt x="771968" y="1715572"/>
                </a:cubicBezTo>
                <a:cubicBezTo>
                  <a:pt x="771892" y="1716601"/>
                  <a:pt x="771816" y="1717630"/>
                  <a:pt x="771752" y="1718671"/>
                </a:cubicBezTo>
                <a:cubicBezTo>
                  <a:pt x="771689" y="1719687"/>
                  <a:pt x="771638" y="1720703"/>
                  <a:pt x="771600" y="1721732"/>
                </a:cubicBezTo>
                <a:cubicBezTo>
                  <a:pt x="771549" y="1722735"/>
                  <a:pt x="771511" y="1723751"/>
                  <a:pt x="771486" y="1724755"/>
                </a:cubicBezTo>
                <a:cubicBezTo>
                  <a:pt x="771460" y="1725758"/>
                  <a:pt x="771448" y="1726748"/>
                  <a:pt x="771435" y="1727752"/>
                </a:cubicBezTo>
                <a:cubicBezTo>
                  <a:pt x="771422" y="1728730"/>
                  <a:pt x="771409" y="1729720"/>
                  <a:pt x="771422" y="1730711"/>
                </a:cubicBezTo>
                <a:cubicBezTo>
                  <a:pt x="771422" y="1731676"/>
                  <a:pt x="771435" y="1732654"/>
                  <a:pt x="771448" y="1733632"/>
                </a:cubicBezTo>
                <a:cubicBezTo>
                  <a:pt x="771460" y="1734597"/>
                  <a:pt x="771486" y="1735550"/>
                  <a:pt x="771524" y="1736515"/>
                </a:cubicBezTo>
                <a:cubicBezTo>
                  <a:pt x="771549" y="1737467"/>
                  <a:pt x="771587" y="1738420"/>
                  <a:pt x="771625" y="1739359"/>
                </a:cubicBezTo>
                <a:cubicBezTo>
                  <a:pt x="771664" y="1740299"/>
                  <a:pt x="771714" y="1741239"/>
                  <a:pt x="771765" y="1742179"/>
                </a:cubicBezTo>
                <a:cubicBezTo>
                  <a:pt x="771816" y="1743106"/>
                  <a:pt x="771879" y="1744033"/>
                  <a:pt x="771943" y="1744947"/>
                </a:cubicBezTo>
                <a:cubicBezTo>
                  <a:pt x="772006" y="1745862"/>
                  <a:pt x="772070" y="1746776"/>
                  <a:pt x="772146" y="1747691"/>
                </a:cubicBezTo>
                <a:cubicBezTo>
                  <a:pt x="772222" y="1748592"/>
                  <a:pt x="772299" y="1749494"/>
                  <a:pt x="772387" y="1750383"/>
                </a:cubicBezTo>
                <a:cubicBezTo>
                  <a:pt x="772463" y="1751272"/>
                  <a:pt x="772552" y="1752161"/>
                  <a:pt x="772641" y="1753050"/>
                </a:cubicBezTo>
                <a:cubicBezTo>
                  <a:pt x="772743" y="1753926"/>
                  <a:pt x="772832" y="1754803"/>
                  <a:pt x="772933" y="1755666"/>
                </a:cubicBezTo>
                <a:cubicBezTo>
                  <a:pt x="773035" y="1756530"/>
                  <a:pt x="773137" y="1757393"/>
                  <a:pt x="773251" y="1758244"/>
                </a:cubicBezTo>
                <a:cubicBezTo>
                  <a:pt x="773353" y="1759108"/>
                  <a:pt x="773467" y="1759959"/>
                  <a:pt x="773581" y="1760797"/>
                </a:cubicBezTo>
                <a:cubicBezTo>
                  <a:pt x="773695" y="1761635"/>
                  <a:pt x="773822" y="1762473"/>
                  <a:pt x="773949" y="1763299"/>
                </a:cubicBezTo>
                <a:cubicBezTo>
                  <a:pt x="774064" y="1764125"/>
                  <a:pt x="774191" y="1764950"/>
                  <a:pt x="774330" y="1765763"/>
                </a:cubicBezTo>
                <a:cubicBezTo>
                  <a:pt x="774458" y="1766576"/>
                  <a:pt x="774584" y="1767376"/>
                  <a:pt x="774724" y="1768176"/>
                </a:cubicBezTo>
                <a:cubicBezTo>
                  <a:pt x="774864" y="1768976"/>
                  <a:pt x="775004" y="1769776"/>
                  <a:pt x="775143" y="1770551"/>
                </a:cubicBezTo>
                <a:cubicBezTo>
                  <a:pt x="775296" y="1771338"/>
                  <a:pt x="775435" y="1772125"/>
                  <a:pt x="775588" y="1772900"/>
                </a:cubicBezTo>
                <a:cubicBezTo>
                  <a:pt x="775740" y="1773662"/>
                  <a:pt x="775893" y="1774437"/>
                  <a:pt x="776045" y="1775186"/>
                </a:cubicBezTo>
                <a:cubicBezTo>
                  <a:pt x="728852" y="1791747"/>
                  <a:pt x="679677" y="1802034"/>
                  <a:pt x="629729" y="1805818"/>
                </a:cubicBezTo>
                <a:cubicBezTo>
                  <a:pt x="621778" y="1768760"/>
                  <a:pt x="598398" y="1707165"/>
                  <a:pt x="558583" y="1707165"/>
                </a:cubicBezTo>
                <a:cubicBezTo>
                  <a:pt x="545693" y="1707165"/>
                  <a:pt x="533615" y="1713744"/>
                  <a:pt x="522833" y="1723954"/>
                </a:cubicBezTo>
                <a:cubicBezTo>
                  <a:pt x="522528" y="1724234"/>
                  <a:pt x="522223" y="1724526"/>
                  <a:pt x="521919" y="1724818"/>
                </a:cubicBezTo>
                <a:cubicBezTo>
                  <a:pt x="520674" y="1726025"/>
                  <a:pt x="519442" y="1727295"/>
                  <a:pt x="518236" y="1728590"/>
                </a:cubicBezTo>
                <a:cubicBezTo>
                  <a:pt x="517080" y="1729834"/>
                  <a:pt x="515950" y="1731117"/>
                  <a:pt x="514819" y="1732425"/>
                </a:cubicBezTo>
                <a:cubicBezTo>
                  <a:pt x="513753" y="1733695"/>
                  <a:pt x="512686" y="1734991"/>
                  <a:pt x="511644" y="1736312"/>
                </a:cubicBezTo>
                <a:cubicBezTo>
                  <a:pt x="510641" y="1737594"/>
                  <a:pt x="509638" y="1738902"/>
                  <a:pt x="508660" y="1740236"/>
                </a:cubicBezTo>
                <a:cubicBezTo>
                  <a:pt x="507707" y="1741544"/>
                  <a:pt x="506768" y="1742865"/>
                  <a:pt x="505853" y="1744211"/>
                </a:cubicBezTo>
                <a:cubicBezTo>
                  <a:pt x="504951" y="1745519"/>
                  <a:pt x="504062" y="1746853"/>
                  <a:pt x="503186" y="1748211"/>
                </a:cubicBezTo>
                <a:cubicBezTo>
                  <a:pt x="502322" y="1749545"/>
                  <a:pt x="501484" y="1750891"/>
                  <a:pt x="500659" y="1752237"/>
                </a:cubicBezTo>
                <a:cubicBezTo>
                  <a:pt x="499833" y="1753584"/>
                  <a:pt x="499033" y="1754930"/>
                  <a:pt x="498246" y="1756301"/>
                </a:cubicBezTo>
                <a:cubicBezTo>
                  <a:pt x="497471" y="1757647"/>
                  <a:pt x="496709" y="1759006"/>
                  <a:pt x="495960" y="1760365"/>
                </a:cubicBezTo>
                <a:cubicBezTo>
                  <a:pt x="495211" y="1761724"/>
                  <a:pt x="494487" y="1763096"/>
                  <a:pt x="493775" y="1764467"/>
                </a:cubicBezTo>
                <a:cubicBezTo>
                  <a:pt x="493064" y="1765826"/>
                  <a:pt x="492366" y="1767198"/>
                  <a:pt x="491693" y="1768569"/>
                </a:cubicBezTo>
                <a:cubicBezTo>
                  <a:pt x="491020" y="1769954"/>
                  <a:pt x="490346" y="1771325"/>
                  <a:pt x="489699" y="1772710"/>
                </a:cubicBezTo>
                <a:cubicBezTo>
                  <a:pt x="489064" y="1774081"/>
                  <a:pt x="488429" y="1775465"/>
                  <a:pt x="487819" y="1776837"/>
                </a:cubicBezTo>
                <a:cubicBezTo>
                  <a:pt x="487197" y="1778234"/>
                  <a:pt x="486600" y="1779618"/>
                  <a:pt x="486016" y="1780990"/>
                </a:cubicBezTo>
                <a:cubicBezTo>
                  <a:pt x="485419" y="1782387"/>
                  <a:pt x="484847" y="1783771"/>
                  <a:pt x="484301" y="1785156"/>
                </a:cubicBezTo>
                <a:cubicBezTo>
                  <a:pt x="483742" y="1786553"/>
                  <a:pt x="483196" y="1787950"/>
                  <a:pt x="482676" y="1789321"/>
                </a:cubicBezTo>
                <a:cubicBezTo>
                  <a:pt x="482142" y="1790731"/>
                  <a:pt x="481634" y="1792128"/>
                  <a:pt x="481152" y="1793512"/>
                </a:cubicBezTo>
                <a:cubicBezTo>
                  <a:pt x="480644" y="1794922"/>
                  <a:pt x="480161" y="1796319"/>
                  <a:pt x="479704" y="1797703"/>
                </a:cubicBezTo>
                <a:cubicBezTo>
                  <a:pt x="430479" y="1788521"/>
                  <a:pt x="382727" y="1772900"/>
                  <a:pt x="337578" y="1751221"/>
                </a:cubicBezTo>
                <a:cubicBezTo>
                  <a:pt x="349262" y="1715128"/>
                  <a:pt x="359880" y="1650041"/>
                  <a:pt x="325348" y="1630114"/>
                </a:cubicBezTo>
                <a:cubicBezTo>
                  <a:pt x="318719" y="1626279"/>
                  <a:pt x="311150" y="1624603"/>
                  <a:pt x="303085" y="1624603"/>
                </a:cubicBezTo>
                <a:cubicBezTo>
                  <a:pt x="272961" y="1624603"/>
                  <a:pt x="235611" y="1647882"/>
                  <a:pt x="211836" y="1668989"/>
                </a:cubicBezTo>
                <a:cubicBezTo>
                  <a:pt x="173813" y="1636350"/>
                  <a:pt x="140272" y="1598974"/>
                  <a:pt x="112014" y="1557763"/>
                </a:cubicBezTo>
                <a:cubicBezTo>
                  <a:pt x="113284" y="1556607"/>
                  <a:pt x="114580" y="1555413"/>
                  <a:pt x="115888" y="1554169"/>
                </a:cubicBezTo>
                <a:cubicBezTo>
                  <a:pt x="117132" y="1552975"/>
                  <a:pt x="118402" y="1551743"/>
                  <a:pt x="119685" y="1550473"/>
                </a:cubicBezTo>
                <a:cubicBezTo>
                  <a:pt x="120536" y="1549635"/>
                  <a:pt x="121400" y="1548771"/>
                  <a:pt x="122263" y="1547895"/>
                </a:cubicBezTo>
                <a:cubicBezTo>
                  <a:pt x="148959" y="1520641"/>
                  <a:pt x="179413" y="1477207"/>
                  <a:pt x="161862" y="1446778"/>
                </a:cubicBezTo>
                <a:cubicBezTo>
                  <a:pt x="149898" y="1426039"/>
                  <a:pt x="119647" y="1419079"/>
                  <a:pt x="89091" y="1419079"/>
                </a:cubicBezTo>
                <a:cubicBezTo>
                  <a:pt x="73318" y="1419079"/>
                  <a:pt x="57455" y="1420933"/>
                  <a:pt x="43993" y="1423714"/>
                </a:cubicBezTo>
                <a:cubicBezTo>
                  <a:pt x="27420" y="1376598"/>
                  <a:pt x="17120" y="1327436"/>
                  <a:pt x="13323" y="1277386"/>
                </a:cubicBezTo>
                <a:cubicBezTo>
                  <a:pt x="14618" y="1277119"/>
                  <a:pt x="15939" y="1276814"/>
                  <a:pt x="17285" y="1276497"/>
                </a:cubicBezTo>
                <a:cubicBezTo>
                  <a:pt x="18594" y="1276192"/>
                  <a:pt x="19927" y="1275874"/>
                  <a:pt x="21286" y="1275531"/>
                </a:cubicBezTo>
                <a:cubicBezTo>
                  <a:pt x="22594" y="1275201"/>
                  <a:pt x="23927" y="1274858"/>
                  <a:pt x="25274" y="1274490"/>
                </a:cubicBezTo>
                <a:cubicBezTo>
                  <a:pt x="26594" y="1274134"/>
                  <a:pt x="27928" y="1273766"/>
                  <a:pt x="29274" y="1273372"/>
                </a:cubicBezTo>
                <a:cubicBezTo>
                  <a:pt x="30595" y="1272991"/>
                  <a:pt x="31928" y="1272598"/>
                  <a:pt x="33275" y="1272191"/>
                </a:cubicBezTo>
                <a:cubicBezTo>
                  <a:pt x="34595" y="1271785"/>
                  <a:pt x="35942" y="1271366"/>
                  <a:pt x="37275" y="1270934"/>
                </a:cubicBezTo>
                <a:cubicBezTo>
                  <a:pt x="38609" y="1270502"/>
                  <a:pt x="39942" y="1270058"/>
                  <a:pt x="41288" y="1269598"/>
                </a:cubicBezTo>
                <a:cubicBezTo>
                  <a:pt x="42622" y="1269142"/>
                  <a:pt x="43968" y="1268661"/>
                  <a:pt x="45301" y="1268179"/>
                </a:cubicBezTo>
                <a:cubicBezTo>
                  <a:pt x="46635" y="1267693"/>
                  <a:pt x="47981" y="1267203"/>
                  <a:pt x="49315" y="1266682"/>
                </a:cubicBezTo>
                <a:cubicBezTo>
                  <a:pt x="50648" y="1266170"/>
                  <a:pt x="51982" y="1265639"/>
                  <a:pt x="53328" y="1265103"/>
                </a:cubicBezTo>
                <a:cubicBezTo>
                  <a:pt x="54661" y="1264559"/>
                  <a:pt x="55995" y="1263997"/>
                  <a:pt x="57328" y="1263427"/>
                </a:cubicBezTo>
                <a:cubicBezTo>
                  <a:pt x="58662" y="1262841"/>
                  <a:pt x="60008" y="1262261"/>
                  <a:pt x="61329" y="1261652"/>
                </a:cubicBezTo>
                <a:cubicBezTo>
                  <a:pt x="62675" y="1261041"/>
                  <a:pt x="64008" y="1260406"/>
                  <a:pt x="65329" y="1259755"/>
                </a:cubicBezTo>
                <a:cubicBezTo>
                  <a:pt x="66663" y="1259111"/>
                  <a:pt x="67996" y="1258451"/>
                  <a:pt x="69304" y="1257767"/>
                </a:cubicBezTo>
                <a:cubicBezTo>
                  <a:pt x="70651" y="1257067"/>
                  <a:pt x="71971" y="1256353"/>
                  <a:pt x="73280" y="1255628"/>
                </a:cubicBezTo>
                <a:cubicBezTo>
                  <a:pt x="74626" y="1254880"/>
                  <a:pt x="75934" y="1254131"/>
                  <a:pt x="77229" y="1253356"/>
                </a:cubicBezTo>
                <a:cubicBezTo>
                  <a:pt x="78575" y="1252557"/>
                  <a:pt x="79883" y="1251729"/>
                  <a:pt x="81179" y="1250906"/>
                </a:cubicBezTo>
                <a:cubicBezTo>
                  <a:pt x="82512" y="1250042"/>
                  <a:pt x="83820" y="1249155"/>
                  <a:pt x="85090" y="1248252"/>
                </a:cubicBezTo>
                <a:cubicBezTo>
                  <a:pt x="86411" y="1247323"/>
                  <a:pt x="87707" y="1246371"/>
                  <a:pt x="88964" y="1245394"/>
                </a:cubicBezTo>
                <a:cubicBezTo>
                  <a:pt x="90285" y="1244367"/>
                  <a:pt x="91567" y="1243310"/>
                  <a:pt x="92812" y="1242235"/>
                </a:cubicBezTo>
                <a:cubicBezTo>
                  <a:pt x="94120" y="1241103"/>
                  <a:pt x="95390" y="1239932"/>
                  <a:pt x="96597" y="1238742"/>
                </a:cubicBezTo>
                <a:cubicBezTo>
                  <a:pt x="97346" y="1238003"/>
                  <a:pt x="98082" y="1237243"/>
                  <a:pt x="98781" y="1236479"/>
                </a:cubicBezTo>
                <a:cubicBezTo>
                  <a:pt x="106884" y="1227753"/>
                  <a:pt x="111938" y="1217697"/>
                  <a:pt x="111938" y="1206277"/>
                </a:cubicBezTo>
                <a:cubicBezTo>
                  <a:pt x="111976" y="1169968"/>
                  <a:pt x="59741" y="1140073"/>
                  <a:pt x="21425" y="1127358"/>
                </a:cubicBezTo>
                <a:cubicBezTo>
                  <a:pt x="30608" y="1078161"/>
                  <a:pt x="46241" y="1030422"/>
                  <a:pt x="67920" y="985274"/>
                </a:cubicBezTo>
                <a:cubicBezTo>
                  <a:pt x="68479" y="985467"/>
                  <a:pt x="69050" y="985641"/>
                  <a:pt x="69635" y="985818"/>
                </a:cubicBezTo>
                <a:cubicBezTo>
                  <a:pt x="70206" y="986013"/>
                  <a:pt x="70790" y="986185"/>
                  <a:pt x="71387" y="986364"/>
                </a:cubicBezTo>
                <a:cubicBezTo>
                  <a:pt x="71971" y="986543"/>
                  <a:pt x="72581" y="986737"/>
                  <a:pt x="73178" y="986911"/>
                </a:cubicBezTo>
                <a:cubicBezTo>
                  <a:pt x="73787" y="987088"/>
                  <a:pt x="74410" y="987267"/>
                  <a:pt x="75032" y="987445"/>
                </a:cubicBezTo>
                <a:cubicBezTo>
                  <a:pt x="75654" y="987624"/>
                  <a:pt x="76277" y="987803"/>
                  <a:pt x="76912" y="987976"/>
                </a:cubicBezTo>
                <a:cubicBezTo>
                  <a:pt x="77547" y="988155"/>
                  <a:pt x="78194" y="988334"/>
                  <a:pt x="78842" y="988512"/>
                </a:cubicBezTo>
                <a:cubicBezTo>
                  <a:pt x="79490" y="988691"/>
                  <a:pt x="80150" y="988870"/>
                  <a:pt x="80823" y="989033"/>
                </a:cubicBezTo>
                <a:cubicBezTo>
                  <a:pt x="81484" y="989212"/>
                  <a:pt x="82157" y="989391"/>
                  <a:pt x="82830" y="989555"/>
                </a:cubicBezTo>
                <a:cubicBezTo>
                  <a:pt x="83516" y="989732"/>
                  <a:pt x="84201" y="989896"/>
                  <a:pt x="84887" y="990060"/>
                </a:cubicBezTo>
                <a:cubicBezTo>
                  <a:pt x="85586" y="990239"/>
                  <a:pt x="86284" y="990403"/>
                  <a:pt x="86995" y="990571"/>
                </a:cubicBezTo>
                <a:cubicBezTo>
                  <a:pt x="87707" y="990735"/>
                  <a:pt x="88418" y="990898"/>
                  <a:pt x="89142" y="991067"/>
                </a:cubicBezTo>
                <a:cubicBezTo>
                  <a:pt x="89866" y="991231"/>
                  <a:pt x="90590" y="991385"/>
                  <a:pt x="91326" y="991549"/>
                </a:cubicBezTo>
                <a:cubicBezTo>
                  <a:pt x="92063" y="991712"/>
                  <a:pt x="92812" y="991866"/>
                  <a:pt x="93561" y="992020"/>
                </a:cubicBezTo>
                <a:cubicBezTo>
                  <a:pt x="94311" y="992168"/>
                  <a:pt x="95060" y="992322"/>
                  <a:pt x="95822" y="992476"/>
                </a:cubicBezTo>
                <a:cubicBezTo>
                  <a:pt x="96597" y="992625"/>
                  <a:pt x="97371" y="992779"/>
                  <a:pt x="98133" y="992918"/>
                </a:cubicBezTo>
                <a:cubicBezTo>
                  <a:pt x="98921" y="993071"/>
                  <a:pt x="99708" y="993211"/>
                  <a:pt x="100495" y="993349"/>
                </a:cubicBezTo>
                <a:cubicBezTo>
                  <a:pt x="101296" y="993488"/>
                  <a:pt x="102096" y="993633"/>
                  <a:pt x="102896" y="993756"/>
                </a:cubicBezTo>
                <a:cubicBezTo>
                  <a:pt x="103709" y="993895"/>
                  <a:pt x="104521" y="994024"/>
                  <a:pt x="105334" y="994153"/>
                </a:cubicBezTo>
                <a:cubicBezTo>
                  <a:pt x="106160" y="994276"/>
                  <a:pt x="106985" y="994406"/>
                  <a:pt x="107811" y="994520"/>
                </a:cubicBezTo>
                <a:cubicBezTo>
                  <a:pt x="108649" y="994635"/>
                  <a:pt x="109487" y="994758"/>
                  <a:pt x="110325" y="994862"/>
                </a:cubicBezTo>
                <a:cubicBezTo>
                  <a:pt x="111176" y="994976"/>
                  <a:pt x="112040" y="995075"/>
                  <a:pt x="112891" y="995179"/>
                </a:cubicBezTo>
                <a:cubicBezTo>
                  <a:pt x="113754" y="995278"/>
                  <a:pt x="114631" y="995383"/>
                  <a:pt x="115494" y="995473"/>
                </a:cubicBezTo>
                <a:cubicBezTo>
                  <a:pt x="116383" y="995572"/>
                  <a:pt x="117260" y="995651"/>
                  <a:pt x="118136" y="995741"/>
                </a:cubicBezTo>
                <a:cubicBezTo>
                  <a:pt x="119025" y="995814"/>
                  <a:pt x="119926" y="995889"/>
                  <a:pt x="120828" y="995968"/>
                </a:cubicBezTo>
                <a:cubicBezTo>
                  <a:pt x="121730" y="996028"/>
                  <a:pt x="122631" y="996093"/>
                  <a:pt x="123546" y="996147"/>
                </a:cubicBezTo>
                <a:cubicBezTo>
                  <a:pt x="124473" y="996207"/>
                  <a:pt x="125387" y="996261"/>
                  <a:pt x="126315" y="996296"/>
                </a:cubicBezTo>
                <a:cubicBezTo>
                  <a:pt x="127242" y="996335"/>
                  <a:pt x="128182" y="996376"/>
                  <a:pt x="129121" y="996400"/>
                </a:cubicBezTo>
                <a:cubicBezTo>
                  <a:pt x="130074" y="996425"/>
                  <a:pt x="131013" y="996435"/>
                  <a:pt x="131953" y="996449"/>
                </a:cubicBezTo>
                <a:cubicBezTo>
                  <a:pt x="132385" y="996449"/>
                  <a:pt x="132804" y="996449"/>
                  <a:pt x="133223" y="996449"/>
                </a:cubicBezTo>
                <a:cubicBezTo>
                  <a:pt x="133770" y="996449"/>
                  <a:pt x="134303" y="996449"/>
                  <a:pt x="134849" y="996449"/>
                </a:cubicBezTo>
                <a:cubicBezTo>
                  <a:pt x="135827" y="996435"/>
                  <a:pt x="136792" y="996410"/>
                  <a:pt x="137770" y="996386"/>
                </a:cubicBezTo>
                <a:cubicBezTo>
                  <a:pt x="138760" y="996345"/>
                  <a:pt x="139751" y="996311"/>
                  <a:pt x="140742" y="996246"/>
                </a:cubicBezTo>
                <a:cubicBezTo>
                  <a:pt x="141745" y="996197"/>
                  <a:pt x="142748" y="996118"/>
                  <a:pt x="143752" y="996043"/>
                </a:cubicBezTo>
                <a:cubicBezTo>
                  <a:pt x="144768" y="995954"/>
                  <a:pt x="145784" y="995855"/>
                  <a:pt x="146787" y="995751"/>
                </a:cubicBezTo>
                <a:cubicBezTo>
                  <a:pt x="147828" y="995637"/>
                  <a:pt x="148857" y="995512"/>
                  <a:pt x="149873" y="995359"/>
                </a:cubicBezTo>
                <a:cubicBezTo>
                  <a:pt x="150927" y="995205"/>
                  <a:pt x="151969" y="995041"/>
                  <a:pt x="152997" y="994862"/>
                </a:cubicBezTo>
                <a:cubicBezTo>
                  <a:pt x="155321" y="994456"/>
                  <a:pt x="157595" y="993959"/>
                  <a:pt x="159804" y="993373"/>
                </a:cubicBezTo>
                <a:cubicBezTo>
                  <a:pt x="162370" y="992689"/>
                  <a:pt x="164846" y="991876"/>
                  <a:pt x="167221" y="990938"/>
                </a:cubicBezTo>
                <a:cubicBezTo>
                  <a:pt x="169342" y="990086"/>
                  <a:pt x="171374" y="989133"/>
                  <a:pt x="173317" y="988066"/>
                </a:cubicBezTo>
                <a:cubicBezTo>
                  <a:pt x="175082" y="987078"/>
                  <a:pt x="176784" y="985997"/>
                  <a:pt x="178384" y="984816"/>
                </a:cubicBezTo>
                <a:cubicBezTo>
                  <a:pt x="179858" y="983725"/>
                  <a:pt x="181267" y="982529"/>
                  <a:pt x="182588" y="981250"/>
                </a:cubicBezTo>
                <a:cubicBezTo>
                  <a:pt x="183325" y="980525"/>
                  <a:pt x="184023" y="979776"/>
                  <a:pt x="184709" y="978997"/>
                </a:cubicBezTo>
                <a:cubicBezTo>
                  <a:pt x="186296" y="977172"/>
                  <a:pt x="187732" y="975177"/>
                  <a:pt x="188989" y="973004"/>
                </a:cubicBezTo>
                <a:cubicBezTo>
                  <a:pt x="207137" y="941587"/>
                  <a:pt x="176899" y="889631"/>
                  <a:pt x="150114" y="859493"/>
                </a:cubicBezTo>
                <a:cubicBezTo>
                  <a:pt x="160122" y="847836"/>
                  <a:pt x="170587" y="836594"/>
                  <a:pt x="181471" y="825799"/>
                </a:cubicBezTo>
                <a:cubicBezTo>
                  <a:pt x="182144" y="825140"/>
                  <a:pt x="182804" y="824479"/>
                  <a:pt x="183477" y="823820"/>
                </a:cubicBezTo>
                <a:cubicBezTo>
                  <a:pt x="184150" y="823160"/>
                  <a:pt x="184823" y="822501"/>
                  <a:pt x="185496" y="821850"/>
                </a:cubicBezTo>
                <a:cubicBezTo>
                  <a:pt x="186106" y="821255"/>
                  <a:pt x="186728" y="820654"/>
                  <a:pt x="187338" y="820060"/>
                </a:cubicBezTo>
                <a:cubicBezTo>
                  <a:pt x="187998" y="819425"/>
                  <a:pt x="188659" y="818790"/>
                  <a:pt x="189319" y="818169"/>
                </a:cubicBezTo>
                <a:cubicBezTo>
                  <a:pt x="189941" y="817569"/>
                  <a:pt x="190564" y="816973"/>
                  <a:pt x="191186" y="816378"/>
                </a:cubicBezTo>
                <a:cubicBezTo>
                  <a:pt x="191834" y="815768"/>
                  <a:pt x="192481" y="815173"/>
                  <a:pt x="193129" y="814563"/>
                </a:cubicBezTo>
                <a:cubicBezTo>
                  <a:pt x="193790" y="813937"/>
                  <a:pt x="194450" y="813317"/>
                  <a:pt x="195110" y="812708"/>
                </a:cubicBezTo>
                <a:cubicBezTo>
                  <a:pt x="195745" y="812112"/>
                  <a:pt x="196393" y="811511"/>
                  <a:pt x="197028" y="810926"/>
                </a:cubicBezTo>
                <a:cubicBezTo>
                  <a:pt x="197688" y="810321"/>
                  <a:pt x="198362" y="809710"/>
                  <a:pt x="199022" y="809101"/>
                </a:cubicBezTo>
                <a:cubicBezTo>
                  <a:pt x="199670" y="808515"/>
                  <a:pt x="200305" y="807930"/>
                  <a:pt x="200952" y="807349"/>
                </a:cubicBezTo>
                <a:cubicBezTo>
                  <a:pt x="201613" y="806749"/>
                  <a:pt x="202273" y="806153"/>
                  <a:pt x="202934" y="805569"/>
                </a:cubicBezTo>
                <a:cubicBezTo>
                  <a:pt x="203607" y="804973"/>
                  <a:pt x="204280" y="804373"/>
                  <a:pt x="204953" y="803777"/>
                </a:cubicBezTo>
                <a:cubicBezTo>
                  <a:pt x="205600" y="803191"/>
                  <a:pt x="206261" y="802611"/>
                  <a:pt x="206921" y="802036"/>
                </a:cubicBezTo>
                <a:cubicBezTo>
                  <a:pt x="207594" y="801441"/>
                  <a:pt x="208268" y="800856"/>
                  <a:pt x="208953" y="800260"/>
                </a:cubicBezTo>
                <a:cubicBezTo>
                  <a:pt x="209601" y="799690"/>
                  <a:pt x="210261" y="799119"/>
                  <a:pt x="210934" y="798543"/>
                </a:cubicBezTo>
                <a:cubicBezTo>
                  <a:pt x="211976" y="797645"/>
                  <a:pt x="213017" y="796758"/>
                  <a:pt x="214071" y="795855"/>
                </a:cubicBezTo>
                <a:cubicBezTo>
                  <a:pt x="215417" y="794709"/>
                  <a:pt x="216764" y="793583"/>
                  <a:pt x="218123" y="792437"/>
                </a:cubicBezTo>
                <a:cubicBezTo>
                  <a:pt x="219482" y="791306"/>
                  <a:pt x="220840" y="790189"/>
                  <a:pt x="222199" y="789073"/>
                </a:cubicBezTo>
                <a:cubicBezTo>
                  <a:pt x="223571" y="787952"/>
                  <a:pt x="224942" y="786836"/>
                  <a:pt x="226327" y="785729"/>
                </a:cubicBezTo>
                <a:cubicBezTo>
                  <a:pt x="227698" y="784628"/>
                  <a:pt x="229083" y="783522"/>
                  <a:pt x="230467" y="782431"/>
                </a:cubicBezTo>
                <a:cubicBezTo>
                  <a:pt x="231851" y="781339"/>
                  <a:pt x="233248" y="780248"/>
                  <a:pt x="234645" y="779166"/>
                </a:cubicBezTo>
                <a:cubicBezTo>
                  <a:pt x="236042" y="778085"/>
                  <a:pt x="237452" y="777008"/>
                  <a:pt x="238862" y="775941"/>
                </a:cubicBezTo>
                <a:cubicBezTo>
                  <a:pt x="240259" y="774876"/>
                  <a:pt x="241668" y="773809"/>
                  <a:pt x="243091" y="772752"/>
                </a:cubicBezTo>
                <a:cubicBezTo>
                  <a:pt x="244513" y="771701"/>
                  <a:pt x="245923" y="770658"/>
                  <a:pt x="247358" y="769601"/>
                </a:cubicBezTo>
                <a:cubicBezTo>
                  <a:pt x="248780" y="768560"/>
                  <a:pt x="250215" y="767533"/>
                  <a:pt x="251651" y="766506"/>
                </a:cubicBezTo>
                <a:cubicBezTo>
                  <a:pt x="253086" y="765474"/>
                  <a:pt x="254533" y="764448"/>
                  <a:pt x="255981" y="763430"/>
                </a:cubicBezTo>
                <a:cubicBezTo>
                  <a:pt x="257429" y="762413"/>
                  <a:pt x="258877" y="761396"/>
                  <a:pt x="260337" y="760394"/>
                </a:cubicBezTo>
                <a:cubicBezTo>
                  <a:pt x="260680" y="760156"/>
                  <a:pt x="261036" y="759913"/>
                  <a:pt x="261379" y="759685"/>
                </a:cubicBezTo>
                <a:cubicBezTo>
                  <a:pt x="266497" y="765335"/>
                  <a:pt x="272656" y="771532"/>
                  <a:pt x="279514" y="777668"/>
                </a:cubicBezTo>
                <a:cubicBezTo>
                  <a:pt x="283324" y="781081"/>
                  <a:pt x="287350" y="784474"/>
                  <a:pt x="291541" y="787738"/>
                </a:cubicBezTo>
                <a:cubicBezTo>
                  <a:pt x="294462" y="790025"/>
                  <a:pt x="297459" y="792258"/>
                  <a:pt x="300520" y="794382"/>
                </a:cubicBezTo>
                <a:cubicBezTo>
                  <a:pt x="302958" y="796083"/>
                  <a:pt x="305448" y="797720"/>
                  <a:pt x="307950" y="799282"/>
                </a:cubicBezTo>
                <a:cubicBezTo>
                  <a:pt x="310058" y="800602"/>
                  <a:pt x="312179" y="801848"/>
                  <a:pt x="314325" y="803043"/>
                </a:cubicBezTo>
                <a:cubicBezTo>
                  <a:pt x="316179" y="804070"/>
                  <a:pt x="318046" y="805062"/>
                  <a:pt x="319926" y="805975"/>
                </a:cubicBezTo>
                <a:cubicBezTo>
                  <a:pt x="321577" y="806798"/>
                  <a:pt x="323240" y="807563"/>
                  <a:pt x="324891" y="808287"/>
                </a:cubicBezTo>
                <a:cubicBezTo>
                  <a:pt x="326390" y="808937"/>
                  <a:pt x="327876" y="809533"/>
                  <a:pt x="329362" y="810093"/>
                </a:cubicBezTo>
                <a:cubicBezTo>
                  <a:pt x="330695" y="810598"/>
                  <a:pt x="332029" y="811071"/>
                  <a:pt x="333362" y="811487"/>
                </a:cubicBezTo>
                <a:cubicBezTo>
                  <a:pt x="334556" y="811868"/>
                  <a:pt x="335750" y="812226"/>
                  <a:pt x="336931" y="812544"/>
                </a:cubicBezTo>
                <a:cubicBezTo>
                  <a:pt x="337998" y="812831"/>
                  <a:pt x="339064" y="813089"/>
                  <a:pt x="340118" y="813327"/>
                </a:cubicBezTo>
                <a:cubicBezTo>
                  <a:pt x="341046" y="813531"/>
                  <a:pt x="341960" y="813710"/>
                  <a:pt x="342887" y="813873"/>
                </a:cubicBezTo>
                <a:cubicBezTo>
                  <a:pt x="343675" y="814017"/>
                  <a:pt x="344462" y="814131"/>
                  <a:pt x="345237" y="814230"/>
                </a:cubicBezTo>
                <a:cubicBezTo>
                  <a:pt x="345872" y="814319"/>
                  <a:pt x="346507" y="814394"/>
                  <a:pt x="347129" y="814459"/>
                </a:cubicBezTo>
                <a:cubicBezTo>
                  <a:pt x="347586" y="814498"/>
                  <a:pt x="348031" y="814538"/>
                  <a:pt x="348488" y="814572"/>
                </a:cubicBezTo>
                <a:cubicBezTo>
                  <a:pt x="348716" y="814587"/>
                  <a:pt x="348945" y="814613"/>
                  <a:pt x="349174" y="814621"/>
                </a:cubicBezTo>
                <a:cubicBezTo>
                  <a:pt x="350177" y="814686"/>
                  <a:pt x="351193" y="814712"/>
                  <a:pt x="352184" y="814712"/>
                </a:cubicBezTo>
                <a:cubicBezTo>
                  <a:pt x="359283" y="814712"/>
                  <a:pt x="366077" y="813138"/>
                  <a:pt x="372326" y="809533"/>
                </a:cubicBezTo>
                <a:cubicBezTo>
                  <a:pt x="376110" y="807349"/>
                  <a:pt x="379425" y="804566"/>
                  <a:pt x="382333" y="801278"/>
                </a:cubicBezTo>
                <a:cubicBezTo>
                  <a:pt x="403644" y="777211"/>
                  <a:pt x="402590" y="726421"/>
                  <a:pt x="395402" y="691650"/>
                </a:cubicBezTo>
                <a:cubicBezTo>
                  <a:pt x="396799" y="691155"/>
                  <a:pt x="398196" y="690674"/>
                  <a:pt x="399605" y="690192"/>
                </a:cubicBezTo>
                <a:cubicBezTo>
                  <a:pt x="401002" y="689706"/>
                  <a:pt x="402399" y="689240"/>
                  <a:pt x="403809" y="688769"/>
                </a:cubicBezTo>
                <a:cubicBezTo>
                  <a:pt x="405193" y="688297"/>
                  <a:pt x="406590" y="687840"/>
                  <a:pt x="407987" y="687384"/>
                </a:cubicBezTo>
                <a:cubicBezTo>
                  <a:pt x="409371" y="686937"/>
                  <a:pt x="410756" y="686497"/>
                  <a:pt x="412127" y="686050"/>
                </a:cubicBezTo>
                <a:cubicBezTo>
                  <a:pt x="413512" y="685618"/>
                  <a:pt x="414883" y="685186"/>
                  <a:pt x="416267" y="684755"/>
                </a:cubicBezTo>
                <a:cubicBezTo>
                  <a:pt x="417639" y="684334"/>
                  <a:pt x="419011" y="683916"/>
                  <a:pt x="420382" y="683510"/>
                </a:cubicBezTo>
                <a:cubicBezTo>
                  <a:pt x="421741" y="683103"/>
                  <a:pt x="423113" y="682697"/>
                  <a:pt x="424472" y="682289"/>
                </a:cubicBezTo>
                <a:cubicBezTo>
                  <a:pt x="425831" y="681898"/>
                  <a:pt x="427189" y="681505"/>
                  <a:pt x="428548" y="681123"/>
                </a:cubicBezTo>
                <a:cubicBezTo>
                  <a:pt x="429895" y="680741"/>
                  <a:pt x="431241" y="680360"/>
                  <a:pt x="432587" y="679993"/>
                </a:cubicBezTo>
                <a:cubicBezTo>
                  <a:pt x="433920" y="679626"/>
                  <a:pt x="435267" y="679254"/>
                  <a:pt x="436600" y="678887"/>
                </a:cubicBezTo>
                <a:cubicBezTo>
                  <a:pt x="437934" y="678529"/>
                  <a:pt x="439254" y="678187"/>
                  <a:pt x="440588" y="677834"/>
                </a:cubicBezTo>
                <a:cubicBezTo>
                  <a:pt x="441909" y="677492"/>
                  <a:pt x="443230" y="677160"/>
                  <a:pt x="444550" y="676818"/>
                </a:cubicBezTo>
                <a:cubicBezTo>
                  <a:pt x="445858" y="676485"/>
                  <a:pt x="447179" y="676157"/>
                  <a:pt x="448487" y="675840"/>
                </a:cubicBezTo>
                <a:cubicBezTo>
                  <a:pt x="449783" y="675523"/>
                  <a:pt x="451078" y="675205"/>
                  <a:pt x="452374" y="674898"/>
                </a:cubicBezTo>
                <a:cubicBezTo>
                  <a:pt x="453656" y="674595"/>
                  <a:pt x="454952" y="674287"/>
                  <a:pt x="456247" y="674000"/>
                </a:cubicBezTo>
                <a:cubicBezTo>
                  <a:pt x="457517" y="673692"/>
                  <a:pt x="458787" y="673414"/>
                  <a:pt x="460057" y="673121"/>
                </a:cubicBezTo>
                <a:cubicBezTo>
                  <a:pt x="461327" y="672844"/>
                  <a:pt x="462584" y="672561"/>
                  <a:pt x="463842" y="672298"/>
                </a:cubicBezTo>
                <a:cubicBezTo>
                  <a:pt x="465099" y="672015"/>
                  <a:pt x="466344" y="671747"/>
                  <a:pt x="467588" y="671494"/>
                </a:cubicBezTo>
                <a:cubicBezTo>
                  <a:pt x="468820" y="671241"/>
                  <a:pt x="470052" y="670989"/>
                  <a:pt x="471284" y="670736"/>
                </a:cubicBezTo>
                <a:cubicBezTo>
                  <a:pt x="472503" y="670492"/>
                  <a:pt x="473710" y="670249"/>
                  <a:pt x="474929" y="670011"/>
                </a:cubicBezTo>
                <a:cubicBezTo>
                  <a:pt x="476122" y="669768"/>
                  <a:pt x="477329" y="669540"/>
                  <a:pt x="478523" y="669311"/>
                </a:cubicBezTo>
                <a:cubicBezTo>
                  <a:pt x="479704" y="669094"/>
                  <a:pt x="480885" y="668880"/>
                  <a:pt x="482066" y="668662"/>
                </a:cubicBezTo>
                <a:cubicBezTo>
                  <a:pt x="483222" y="668449"/>
                  <a:pt x="484377" y="668230"/>
                  <a:pt x="485533" y="668027"/>
                </a:cubicBezTo>
                <a:cubicBezTo>
                  <a:pt x="486676" y="667838"/>
                  <a:pt x="487807" y="667635"/>
                  <a:pt x="488937" y="667447"/>
                </a:cubicBezTo>
                <a:cubicBezTo>
                  <a:pt x="490054" y="667252"/>
                  <a:pt x="491159" y="667074"/>
                  <a:pt x="492277" y="666885"/>
                </a:cubicBezTo>
                <a:cubicBezTo>
                  <a:pt x="493356" y="666707"/>
                  <a:pt x="494436" y="666544"/>
                  <a:pt x="495515" y="666365"/>
                </a:cubicBezTo>
                <a:cubicBezTo>
                  <a:pt x="496569" y="666201"/>
                  <a:pt x="497624" y="666032"/>
                  <a:pt x="498678" y="665869"/>
                </a:cubicBezTo>
                <a:cubicBezTo>
                  <a:pt x="499694" y="665714"/>
                  <a:pt x="500722" y="665566"/>
                  <a:pt x="501738" y="665412"/>
                </a:cubicBezTo>
                <a:cubicBezTo>
                  <a:pt x="502716" y="665274"/>
                  <a:pt x="503694" y="665134"/>
                  <a:pt x="504672" y="664996"/>
                </a:cubicBezTo>
                <a:cubicBezTo>
                  <a:pt x="505612" y="664866"/>
                  <a:pt x="506552" y="664728"/>
                  <a:pt x="507491" y="664599"/>
                </a:cubicBezTo>
                <a:cubicBezTo>
                  <a:pt x="508380" y="664485"/>
                  <a:pt x="509269" y="664361"/>
                  <a:pt x="510146" y="664241"/>
                </a:cubicBezTo>
                <a:cubicBezTo>
                  <a:pt x="510984" y="664142"/>
                  <a:pt x="511809" y="664028"/>
                  <a:pt x="512648" y="663924"/>
                </a:cubicBezTo>
                <a:cubicBezTo>
                  <a:pt x="513410" y="663825"/>
                  <a:pt x="514159" y="663736"/>
                  <a:pt x="514921" y="663637"/>
                </a:cubicBezTo>
                <a:cubicBezTo>
                  <a:pt x="515607" y="663557"/>
                  <a:pt x="516280" y="663468"/>
                  <a:pt x="516953" y="663393"/>
                </a:cubicBezTo>
                <a:cubicBezTo>
                  <a:pt x="517524" y="663329"/>
                  <a:pt x="518096" y="663254"/>
                  <a:pt x="518680" y="663190"/>
                </a:cubicBezTo>
                <a:cubicBezTo>
                  <a:pt x="519112" y="663140"/>
                  <a:pt x="519544" y="663085"/>
                  <a:pt x="519975" y="663036"/>
                </a:cubicBezTo>
                <a:cubicBezTo>
                  <a:pt x="520229" y="663012"/>
                  <a:pt x="520471" y="662986"/>
                  <a:pt x="520712" y="662961"/>
                </a:cubicBezTo>
                <a:cubicBezTo>
                  <a:pt x="527697" y="662163"/>
                  <a:pt x="534695" y="661513"/>
                  <a:pt x="541718" y="660982"/>
                </a:cubicBezTo>
                <a:cubicBezTo>
                  <a:pt x="546391" y="682711"/>
                  <a:pt x="556374" y="712873"/>
                  <a:pt x="571855" y="734106"/>
                </a:cubicBezTo>
                <a:cubicBezTo>
                  <a:pt x="572058" y="734398"/>
                  <a:pt x="572274" y="734676"/>
                  <a:pt x="572477" y="734970"/>
                </a:cubicBezTo>
                <a:cubicBezTo>
                  <a:pt x="572706" y="735277"/>
                  <a:pt x="572934" y="735579"/>
                  <a:pt x="573176" y="735882"/>
                </a:cubicBezTo>
                <a:cubicBezTo>
                  <a:pt x="573417" y="736199"/>
                  <a:pt x="573671" y="736532"/>
                  <a:pt x="573925" y="736849"/>
                </a:cubicBezTo>
                <a:cubicBezTo>
                  <a:pt x="574192" y="737192"/>
                  <a:pt x="574458" y="737534"/>
                  <a:pt x="574725" y="737867"/>
                </a:cubicBezTo>
                <a:cubicBezTo>
                  <a:pt x="575017" y="738234"/>
                  <a:pt x="575309" y="738591"/>
                  <a:pt x="575601" y="738944"/>
                </a:cubicBezTo>
                <a:cubicBezTo>
                  <a:pt x="575919" y="739325"/>
                  <a:pt x="576224" y="739692"/>
                  <a:pt x="576541" y="740064"/>
                </a:cubicBezTo>
                <a:cubicBezTo>
                  <a:pt x="576884" y="740456"/>
                  <a:pt x="577214" y="740849"/>
                  <a:pt x="577557" y="741230"/>
                </a:cubicBezTo>
                <a:cubicBezTo>
                  <a:pt x="577925" y="741637"/>
                  <a:pt x="578294" y="742044"/>
                  <a:pt x="578662" y="742450"/>
                </a:cubicBezTo>
                <a:cubicBezTo>
                  <a:pt x="579056" y="742867"/>
                  <a:pt x="579449" y="743288"/>
                  <a:pt x="579856" y="743706"/>
                </a:cubicBezTo>
                <a:cubicBezTo>
                  <a:pt x="580288" y="744152"/>
                  <a:pt x="580719" y="744584"/>
                  <a:pt x="581151" y="745015"/>
                </a:cubicBezTo>
                <a:cubicBezTo>
                  <a:pt x="581621" y="745471"/>
                  <a:pt x="582078" y="745918"/>
                  <a:pt x="582561" y="746359"/>
                </a:cubicBezTo>
                <a:cubicBezTo>
                  <a:pt x="583056" y="746832"/>
                  <a:pt x="583577" y="747303"/>
                  <a:pt x="584085" y="747743"/>
                </a:cubicBezTo>
                <a:cubicBezTo>
                  <a:pt x="584644" y="748240"/>
                  <a:pt x="585202" y="748711"/>
                  <a:pt x="585774" y="749167"/>
                </a:cubicBezTo>
                <a:cubicBezTo>
                  <a:pt x="586384" y="749679"/>
                  <a:pt x="587006" y="750160"/>
                  <a:pt x="587641" y="750631"/>
                </a:cubicBezTo>
                <a:cubicBezTo>
                  <a:pt x="588314" y="751137"/>
                  <a:pt x="589013" y="751633"/>
                  <a:pt x="589711" y="752115"/>
                </a:cubicBezTo>
                <a:cubicBezTo>
                  <a:pt x="590486" y="752635"/>
                  <a:pt x="591260" y="753131"/>
                  <a:pt x="592048" y="753612"/>
                </a:cubicBezTo>
                <a:cubicBezTo>
                  <a:pt x="592937" y="754148"/>
                  <a:pt x="593839" y="754645"/>
                  <a:pt x="594740" y="755111"/>
                </a:cubicBezTo>
                <a:cubicBezTo>
                  <a:pt x="595782" y="755647"/>
                  <a:pt x="596836" y="756143"/>
                  <a:pt x="597915" y="756584"/>
                </a:cubicBezTo>
                <a:cubicBezTo>
                  <a:pt x="599198" y="757130"/>
                  <a:pt x="600506" y="757601"/>
                  <a:pt x="601827" y="757994"/>
                </a:cubicBezTo>
                <a:cubicBezTo>
                  <a:pt x="603579" y="758528"/>
                  <a:pt x="605370" y="758936"/>
                  <a:pt x="607199" y="759214"/>
                </a:cubicBezTo>
                <a:cubicBezTo>
                  <a:pt x="609040" y="759491"/>
                  <a:pt x="610933" y="759636"/>
                  <a:pt x="612863" y="759636"/>
                </a:cubicBezTo>
                <a:cubicBezTo>
                  <a:pt x="615454" y="759636"/>
                  <a:pt x="618007" y="759368"/>
                  <a:pt x="620521" y="758856"/>
                </a:cubicBezTo>
                <a:cubicBezTo>
                  <a:pt x="620839" y="758806"/>
                  <a:pt x="621143" y="758733"/>
                  <a:pt x="621448" y="758668"/>
                </a:cubicBezTo>
                <a:cubicBezTo>
                  <a:pt x="626312" y="757576"/>
                  <a:pt x="631037" y="755582"/>
                  <a:pt x="635583" y="752864"/>
                </a:cubicBezTo>
                <a:cubicBezTo>
                  <a:pt x="637691" y="751618"/>
                  <a:pt x="639749" y="750224"/>
                  <a:pt x="641781" y="748672"/>
                </a:cubicBezTo>
                <a:cubicBezTo>
                  <a:pt x="643394" y="747456"/>
                  <a:pt x="644981" y="746132"/>
                  <a:pt x="646543" y="744748"/>
                </a:cubicBezTo>
                <a:cubicBezTo>
                  <a:pt x="647902" y="743542"/>
                  <a:pt x="649248" y="742272"/>
                  <a:pt x="650569" y="740953"/>
                </a:cubicBezTo>
                <a:cubicBezTo>
                  <a:pt x="651192" y="740327"/>
                  <a:pt x="651814" y="739692"/>
                  <a:pt x="652436" y="739033"/>
                </a:cubicBezTo>
                <a:cubicBezTo>
                  <a:pt x="671626" y="718817"/>
                  <a:pt x="686294" y="687613"/>
                  <a:pt x="693444" y="663661"/>
                </a:cubicBezTo>
                <a:lnTo>
                  <a:pt x="693711" y="661846"/>
                </a:lnTo>
                <a:lnTo>
                  <a:pt x="693711" y="48"/>
                </a:lnTo>
              </a:path>
            </a:pathLst>
          </a:custGeom>
          <a:solidFill>
            <a:schemeClr val="bg1">
              <a:lumMod val="85000"/>
            </a:schemeClr>
          </a:solidFill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765E997-F191-F2F3-94F3-CFED7C09B89B}"/>
              </a:ext>
            </a:extLst>
          </p:cNvPr>
          <p:cNvSpPr/>
          <p:nvPr/>
        </p:nvSpPr>
        <p:spPr>
          <a:xfrm rot="5400000" flipV="1">
            <a:off x="1022845" y="6497857"/>
            <a:ext cx="248995" cy="248995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F33A1FE-3563-085B-0A0B-7EA5D9A959B9}"/>
              </a:ext>
            </a:extLst>
          </p:cNvPr>
          <p:cNvSpPr/>
          <p:nvPr/>
        </p:nvSpPr>
        <p:spPr>
          <a:xfrm rot="5400000" flipV="1">
            <a:off x="441866" y="6192717"/>
            <a:ext cx="378987" cy="378986"/>
          </a:xfrm>
          <a:prstGeom prst="ellipse">
            <a:avLst/>
          </a:prstGeom>
          <a:noFill/>
          <a:ln w="1271" cap="flat">
            <a:solidFill>
              <a:schemeClr val="bg1">
                <a:lumMod val="8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D9F3571-7043-71C5-A60C-E93907065383}"/>
              </a:ext>
            </a:extLst>
          </p:cNvPr>
          <p:cNvSpPr txBox="1">
            <a:spLocks/>
          </p:cNvSpPr>
          <p:nvPr/>
        </p:nvSpPr>
        <p:spPr>
          <a:xfrm>
            <a:off x="606420" y="6324442"/>
            <a:ext cx="641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A4AE14-256E-4160-8E2D-F13F9E1D91E6}" type="slidenum">
              <a:rPr lang="en-US" sz="800" smtClean="0"/>
              <a:pPr/>
              <a:t>8</a:t>
            </a:fld>
            <a:endParaRPr lang="en-US" sz="80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3D2A2C3-DED3-AEEB-4057-FBBB49ACB1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2932" y="5226257"/>
            <a:ext cx="1307688" cy="1307686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9C510AF-8473-70F4-898C-39A94BCDAF73}"/>
              </a:ext>
            </a:extLst>
          </p:cNvPr>
          <p:cNvSpPr txBox="1">
            <a:spLocks/>
          </p:cNvSpPr>
          <p:nvPr/>
        </p:nvSpPr>
        <p:spPr>
          <a:xfrm>
            <a:off x="599451" y="320005"/>
            <a:ext cx="1387337" cy="22365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rgbClr val="0E6B77"/>
                </a:solidFill>
              </a:rPr>
              <a:t>Consolidat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CFE4D5C-ABF3-DC9A-9660-E205FA423A41}"/>
              </a:ext>
            </a:extLst>
          </p:cNvPr>
          <p:cNvSpPr txBox="1">
            <a:spLocks/>
          </p:cNvSpPr>
          <p:nvPr/>
        </p:nvSpPr>
        <p:spPr>
          <a:xfrm>
            <a:off x="2383677" y="320005"/>
            <a:ext cx="1229755" cy="22365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rgbClr val="9D2F9D"/>
                </a:solidFill>
              </a:rPr>
              <a:t>Aggregat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6C75406-DF70-803D-E354-78A3EA0932A9}"/>
              </a:ext>
            </a:extLst>
          </p:cNvPr>
          <p:cNvSpPr txBox="1">
            <a:spLocks/>
          </p:cNvSpPr>
          <p:nvPr/>
        </p:nvSpPr>
        <p:spPr>
          <a:xfrm>
            <a:off x="4371950" y="320005"/>
            <a:ext cx="931585" cy="22365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 err="1">
                <a:solidFill>
                  <a:srgbClr val="9DB4C0"/>
                </a:solidFill>
              </a:rPr>
              <a:t>Analyse</a:t>
            </a:r>
            <a:endParaRPr lang="en-US" b="1" dirty="0">
              <a:solidFill>
                <a:srgbClr val="9DB4C0"/>
              </a:solidFill>
            </a:endParaRPr>
          </a:p>
        </p:txBody>
      </p:sp>
      <p:pic>
        <p:nvPicPr>
          <p:cNvPr id="21" name="Graphic 20" descr="Treasure chest with solid fill">
            <a:extLst>
              <a:ext uri="{FF2B5EF4-FFF2-40B4-BE49-F238E27FC236}">
                <a16:creationId xmlns:a16="http://schemas.microsoft.com/office/drawing/2014/main" id="{7C159820-92FB-4C44-1175-73DBF5B647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7061" y="725671"/>
            <a:ext cx="518121" cy="539866"/>
          </a:xfrm>
          <a:prstGeom prst="rect">
            <a:avLst/>
          </a:prstGeom>
        </p:spPr>
      </p:pic>
      <p:pic>
        <p:nvPicPr>
          <p:cNvPr id="22" name="Graphic 21" descr="Register with solid fill">
            <a:extLst>
              <a:ext uri="{FF2B5EF4-FFF2-40B4-BE49-F238E27FC236}">
                <a16:creationId xmlns:a16="http://schemas.microsoft.com/office/drawing/2014/main" id="{2DE7EF35-F1DA-D7A0-3DB7-E3D673B910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352942" y="1575419"/>
            <a:ext cx="518121" cy="539866"/>
          </a:xfrm>
          <a:prstGeom prst="rect">
            <a:avLst/>
          </a:prstGeom>
        </p:spPr>
      </p:pic>
      <p:pic>
        <p:nvPicPr>
          <p:cNvPr id="23" name="Graphic 22" descr="Clipboard Checked with solid fill">
            <a:extLst>
              <a:ext uri="{FF2B5EF4-FFF2-40B4-BE49-F238E27FC236}">
                <a16:creationId xmlns:a16="http://schemas.microsoft.com/office/drawing/2014/main" id="{E15C32BB-427A-C5E3-5034-996F20E9391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65928" y="950517"/>
            <a:ext cx="518121" cy="539866"/>
          </a:xfrm>
          <a:prstGeom prst="rect">
            <a:avLst/>
          </a:prstGeom>
        </p:spPr>
      </p:pic>
      <p:pic>
        <p:nvPicPr>
          <p:cNvPr id="24" name="Graphic 23" descr="Gauge with solid fill">
            <a:extLst>
              <a:ext uri="{FF2B5EF4-FFF2-40B4-BE49-F238E27FC236}">
                <a16:creationId xmlns:a16="http://schemas.microsoft.com/office/drawing/2014/main" id="{F3F93577-9A8D-9894-4D36-78909451698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57105" y="1240588"/>
            <a:ext cx="518121" cy="539866"/>
          </a:xfrm>
          <a:prstGeom prst="rect">
            <a:avLst/>
          </a:prstGeom>
        </p:spPr>
      </p:pic>
      <p:pic>
        <p:nvPicPr>
          <p:cNvPr id="25" name="Graphic 24" descr="Clipboard with solid fill">
            <a:extLst>
              <a:ext uri="{FF2B5EF4-FFF2-40B4-BE49-F238E27FC236}">
                <a16:creationId xmlns:a16="http://schemas.microsoft.com/office/drawing/2014/main" id="{B73E00D1-1BFE-8FDE-82E0-C4340799B41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36278" y="1632324"/>
            <a:ext cx="626048" cy="652323"/>
          </a:xfrm>
          <a:prstGeom prst="rect">
            <a:avLst/>
          </a:prstGeom>
        </p:spPr>
      </p:pic>
      <p:pic>
        <p:nvPicPr>
          <p:cNvPr id="28" name="Graphic 27" descr="Paper with solid fill">
            <a:extLst>
              <a:ext uri="{FF2B5EF4-FFF2-40B4-BE49-F238E27FC236}">
                <a16:creationId xmlns:a16="http://schemas.microsoft.com/office/drawing/2014/main" id="{AB06D801-E070-F6ED-1143-A94785DBF55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89584" y="2001328"/>
            <a:ext cx="443531" cy="462147"/>
          </a:xfrm>
          <a:prstGeom prst="rect">
            <a:avLst/>
          </a:prstGeom>
        </p:spPr>
      </p:pic>
      <p:pic>
        <p:nvPicPr>
          <p:cNvPr id="29" name="Graphic 28" descr="Atom with solid fill">
            <a:extLst>
              <a:ext uri="{FF2B5EF4-FFF2-40B4-BE49-F238E27FC236}">
                <a16:creationId xmlns:a16="http://schemas.microsoft.com/office/drawing/2014/main" id="{2A0753E2-0BD4-FD7A-B2A1-E9FABA406FA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495699" y="2256128"/>
            <a:ext cx="439530" cy="457976"/>
          </a:xfrm>
          <a:prstGeom prst="rect">
            <a:avLst/>
          </a:prstGeom>
        </p:spPr>
      </p:pic>
      <p:pic>
        <p:nvPicPr>
          <p:cNvPr id="30" name="Graphic 29" descr="Postit Notes with solid fill">
            <a:extLst>
              <a:ext uri="{FF2B5EF4-FFF2-40B4-BE49-F238E27FC236}">
                <a16:creationId xmlns:a16="http://schemas.microsoft.com/office/drawing/2014/main" id="{0293E4AC-FFBC-E867-78C7-540DD9588A2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246991" y="2919795"/>
            <a:ext cx="518121" cy="539866"/>
          </a:xfrm>
          <a:prstGeom prst="rect">
            <a:avLst/>
          </a:prstGeom>
        </p:spPr>
      </p:pic>
      <p:pic>
        <p:nvPicPr>
          <p:cNvPr id="32" name="Graphic 31" descr="Repeat with solid fill">
            <a:extLst>
              <a:ext uri="{FF2B5EF4-FFF2-40B4-BE49-F238E27FC236}">
                <a16:creationId xmlns:a16="http://schemas.microsoft.com/office/drawing/2014/main" id="{BAEA7987-5B75-47E5-E94B-A7ECD6557D3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945120" y="3442756"/>
            <a:ext cx="830325" cy="865174"/>
          </a:xfrm>
          <a:prstGeom prst="rect">
            <a:avLst/>
          </a:prstGeom>
        </p:spPr>
      </p:pic>
      <p:pic>
        <p:nvPicPr>
          <p:cNvPr id="34" name="Graphic 33" descr="Hospital with solid fill">
            <a:extLst>
              <a:ext uri="{FF2B5EF4-FFF2-40B4-BE49-F238E27FC236}">
                <a16:creationId xmlns:a16="http://schemas.microsoft.com/office/drawing/2014/main" id="{D272C7F8-8170-5EBF-5112-C0FD6A876F0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74435" y="3034148"/>
            <a:ext cx="625500" cy="65175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973A9F72-FFA8-6EAF-ED6A-CA4E0E7957F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12654" y="3794109"/>
            <a:ext cx="518121" cy="539866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692FD852-7D92-B793-38C5-12C0F50C2D6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479897" y="2369175"/>
            <a:ext cx="759111" cy="790971"/>
          </a:xfrm>
          <a:prstGeom prst="rect">
            <a:avLst/>
          </a:prstGeom>
        </p:spPr>
      </p:pic>
      <p:pic>
        <p:nvPicPr>
          <p:cNvPr id="37" name="Graphic 36" descr="Label with solid fill">
            <a:extLst>
              <a:ext uri="{FF2B5EF4-FFF2-40B4-BE49-F238E27FC236}">
                <a16:creationId xmlns:a16="http://schemas.microsoft.com/office/drawing/2014/main" id="{893A276A-E389-D378-E564-4B9E09ECA29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899842" y="1229097"/>
            <a:ext cx="612246" cy="637942"/>
          </a:xfrm>
          <a:prstGeom prst="rect">
            <a:avLst/>
          </a:prstGeom>
        </p:spPr>
      </p:pic>
      <p:pic>
        <p:nvPicPr>
          <p:cNvPr id="38" name="Graphic 37" descr="Drawing compass with solid fill">
            <a:extLst>
              <a:ext uri="{FF2B5EF4-FFF2-40B4-BE49-F238E27FC236}">
                <a16:creationId xmlns:a16="http://schemas.microsoft.com/office/drawing/2014/main" id="{155ABDAC-F123-43DE-E351-15B7739D7909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00663" y="1506494"/>
            <a:ext cx="612246" cy="637942"/>
          </a:xfrm>
          <a:prstGeom prst="rect">
            <a:avLst/>
          </a:prstGeom>
        </p:spPr>
      </p:pic>
      <p:pic>
        <p:nvPicPr>
          <p:cNvPr id="39" name="Graphic 38" descr="Mouse with solid fill">
            <a:extLst>
              <a:ext uri="{FF2B5EF4-FFF2-40B4-BE49-F238E27FC236}">
                <a16:creationId xmlns:a16="http://schemas.microsoft.com/office/drawing/2014/main" id="{A94B8F38-88BF-DD7A-579A-DC3EEF189D16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688304" y="2129611"/>
            <a:ext cx="612246" cy="637942"/>
          </a:xfrm>
          <a:prstGeom prst="rect">
            <a:avLst/>
          </a:prstGeom>
        </p:spPr>
      </p:pic>
      <p:pic>
        <p:nvPicPr>
          <p:cNvPr id="40" name="Graphic 39" descr="Magnet with solid fill">
            <a:extLst>
              <a:ext uri="{FF2B5EF4-FFF2-40B4-BE49-F238E27FC236}">
                <a16:creationId xmlns:a16="http://schemas.microsoft.com/office/drawing/2014/main" id="{40C0605C-5428-C1F6-5886-BA7747AEFBB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170734" y="1779624"/>
            <a:ext cx="612246" cy="637942"/>
          </a:xfrm>
          <a:prstGeom prst="rect">
            <a:avLst/>
          </a:prstGeom>
        </p:spPr>
      </p:pic>
      <p:pic>
        <p:nvPicPr>
          <p:cNvPr id="41" name="Graphic 40" descr="Game controller with solid fill">
            <a:extLst>
              <a:ext uri="{FF2B5EF4-FFF2-40B4-BE49-F238E27FC236}">
                <a16:creationId xmlns:a16="http://schemas.microsoft.com/office/drawing/2014/main" id="{32C71F90-F87E-1B6D-6924-B6067169E20A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041794" y="1863077"/>
            <a:ext cx="364689" cy="379994"/>
          </a:xfrm>
          <a:prstGeom prst="rect">
            <a:avLst/>
          </a:prstGeom>
        </p:spPr>
      </p:pic>
      <p:pic>
        <p:nvPicPr>
          <p:cNvPr id="42" name="Graphic 41" descr="Money with solid fill">
            <a:extLst>
              <a:ext uri="{FF2B5EF4-FFF2-40B4-BE49-F238E27FC236}">
                <a16:creationId xmlns:a16="http://schemas.microsoft.com/office/drawing/2014/main" id="{DE536159-A782-1801-CC5A-C25EC53317F2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3022786" y="2331583"/>
            <a:ext cx="391643" cy="408080"/>
          </a:xfrm>
          <a:prstGeom prst="rect">
            <a:avLst/>
          </a:prstGeom>
        </p:spPr>
      </p:pic>
      <p:pic>
        <p:nvPicPr>
          <p:cNvPr id="43" name="Graphic 42" descr="Open folder with solid fill">
            <a:extLst>
              <a:ext uri="{FF2B5EF4-FFF2-40B4-BE49-F238E27FC236}">
                <a16:creationId xmlns:a16="http://schemas.microsoft.com/office/drawing/2014/main" id="{5F44C0DD-5B35-1C8D-FC2F-96B214DA0C12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3637760" y="2767944"/>
            <a:ext cx="466565" cy="486147"/>
          </a:xfrm>
          <a:prstGeom prst="rect">
            <a:avLst/>
          </a:prstGeom>
        </p:spPr>
      </p:pic>
      <p:pic>
        <p:nvPicPr>
          <p:cNvPr id="44" name="Graphic 43" descr="Flask with solid fill">
            <a:extLst>
              <a:ext uri="{FF2B5EF4-FFF2-40B4-BE49-F238E27FC236}">
                <a16:creationId xmlns:a16="http://schemas.microsoft.com/office/drawing/2014/main" id="{18C72518-075B-98CA-4E30-254D0C9AB77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4183013" y="2358391"/>
            <a:ext cx="797851" cy="831337"/>
          </a:xfrm>
          <a:prstGeom prst="rect">
            <a:avLst/>
          </a:prstGeom>
        </p:spPr>
      </p:pic>
      <p:pic>
        <p:nvPicPr>
          <p:cNvPr id="45" name="Graphic 44" descr="Magic Wand Auto with solid fill">
            <a:extLst>
              <a:ext uri="{FF2B5EF4-FFF2-40B4-BE49-F238E27FC236}">
                <a16:creationId xmlns:a16="http://schemas.microsoft.com/office/drawing/2014/main" id="{206E89B0-8259-0437-0C19-47725EED7430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962126" y="2785292"/>
            <a:ext cx="612246" cy="637942"/>
          </a:xfrm>
          <a:prstGeom prst="rect">
            <a:avLst/>
          </a:prstGeom>
        </p:spPr>
      </p:pic>
      <p:pic>
        <p:nvPicPr>
          <p:cNvPr id="46" name="Graphic 45" descr="Chat with solid fill">
            <a:extLst>
              <a:ext uri="{FF2B5EF4-FFF2-40B4-BE49-F238E27FC236}">
                <a16:creationId xmlns:a16="http://schemas.microsoft.com/office/drawing/2014/main" id="{5515A468-D19C-69BB-0A05-BBD7D2DAA6C0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3875935" y="3126802"/>
            <a:ext cx="612246" cy="637942"/>
          </a:xfrm>
          <a:prstGeom prst="rect">
            <a:avLst/>
          </a:prstGeom>
        </p:spPr>
      </p:pic>
      <p:pic>
        <p:nvPicPr>
          <p:cNvPr id="47" name="Graphic 46" descr="Lightbulb with solid fill">
            <a:extLst>
              <a:ext uri="{FF2B5EF4-FFF2-40B4-BE49-F238E27FC236}">
                <a16:creationId xmlns:a16="http://schemas.microsoft.com/office/drawing/2014/main" id="{22853241-3946-C2B6-AF15-87DAF94E23BD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3070268" y="3420134"/>
            <a:ext cx="488501" cy="509003"/>
          </a:xfrm>
          <a:prstGeom prst="rect">
            <a:avLst/>
          </a:prstGeom>
        </p:spPr>
      </p:pic>
      <p:pic>
        <p:nvPicPr>
          <p:cNvPr id="48" name="Graphic 47" descr="Target with solid fill">
            <a:extLst>
              <a:ext uri="{FF2B5EF4-FFF2-40B4-BE49-F238E27FC236}">
                <a16:creationId xmlns:a16="http://schemas.microsoft.com/office/drawing/2014/main" id="{2765775F-D115-B8B9-D40A-24E5D918B30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4903577" y="2114390"/>
            <a:ext cx="441436" cy="459963"/>
          </a:xfrm>
          <a:prstGeom prst="rect">
            <a:avLst/>
          </a:prstGeom>
        </p:spPr>
      </p:pic>
      <p:pic>
        <p:nvPicPr>
          <p:cNvPr id="49" name="Graphic 48" descr="Mining tools with solid fill">
            <a:extLst>
              <a:ext uri="{FF2B5EF4-FFF2-40B4-BE49-F238E27FC236}">
                <a16:creationId xmlns:a16="http://schemas.microsoft.com/office/drawing/2014/main" id="{378AA0F7-B0B4-ED6A-7D6A-B0DCECD9C2AF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5173891" y="2514329"/>
            <a:ext cx="431554" cy="449666"/>
          </a:xfrm>
          <a:prstGeom prst="rect">
            <a:avLst/>
          </a:prstGeom>
        </p:spPr>
      </p:pic>
      <p:pic>
        <p:nvPicPr>
          <p:cNvPr id="50" name="Graphic 49" descr="Tools with solid fill">
            <a:extLst>
              <a:ext uri="{FF2B5EF4-FFF2-40B4-BE49-F238E27FC236}">
                <a16:creationId xmlns:a16="http://schemas.microsoft.com/office/drawing/2014/main" id="{0746783A-FC2A-FF8B-0055-47559FDA8842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5570470" y="2895484"/>
            <a:ext cx="354852" cy="369745"/>
          </a:xfrm>
          <a:prstGeom prst="rect">
            <a:avLst/>
          </a:prstGeom>
        </p:spPr>
      </p:pic>
      <p:pic>
        <p:nvPicPr>
          <p:cNvPr id="51" name="Graphic 50" descr="Cell Tower with solid fill">
            <a:extLst>
              <a:ext uri="{FF2B5EF4-FFF2-40B4-BE49-F238E27FC236}">
                <a16:creationId xmlns:a16="http://schemas.microsoft.com/office/drawing/2014/main" id="{B37B1590-5A9B-0A13-4133-B335271B9457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4916896" y="2904936"/>
            <a:ext cx="457475" cy="476675"/>
          </a:xfrm>
          <a:prstGeom prst="rect">
            <a:avLst/>
          </a:prstGeom>
        </p:spPr>
      </p:pic>
      <p:pic>
        <p:nvPicPr>
          <p:cNvPr id="52" name="Graphic 51" descr="Rose with solid fill">
            <a:extLst>
              <a:ext uri="{FF2B5EF4-FFF2-40B4-BE49-F238E27FC236}">
                <a16:creationId xmlns:a16="http://schemas.microsoft.com/office/drawing/2014/main" id="{8FAB5418-CD0C-A596-8E3F-819E25833E4D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5582210" y="2278245"/>
            <a:ext cx="511010" cy="532457"/>
          </a:xfrm>
          <a:prstGeom prst="rect">
            <a:avLst/>
          </a:prstGeom>
        </p:spPr>
      </p:pic>
      <p:pic>
        <p:nvPicPr>
          <p:cNvPr id="53" name="Graphic 52" descr="Paint brush with solid fill">
            <a:extLst>
              <a:ext uri="{FF2B5EF4-FFF2-40B4-BE49-F238E27FC236}">
                <a16:creationId xmlns:a16="http://schemas.microsoft.com/office/drawing/2014/main" id="{2B82C9D8-4D7C-2DDE-5FED-CFACDA6436B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6051855" y="2477558"/>
            <a:ext cx="429649" cy="447681"/>
          </a:xfrm>
          <a:prstGeom prst="rect">
            <a:avLst/>
          </a:prstGeom>
        </p:spPr>
      </p:pic>
      <p:pic>
        <p:nvPicPr>
          <p:cNvPr id="54" name="Graphic 53" descr="Postit Notes 3 with solid fill">
            <a:extLst>
              <a:ext uri="{FF2B5EF4-FFF2-40B4-BE49-F238E27FC236}">
                <a16:creationId xmlns:a16="http://schemas.microsoft.com/office/drawing/2014/main" id="{AE5E0519-7F58-6177-D318-79DEBBC2615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6530115" y="2612544"/>
            <a:ext cx="364056" cy="379336"/>
          </a:xfrm>
          <a:prstGeom prst="rect">
            <a:avLst/>
          </a:prstGeom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D235461-31E9-8FE2-90AE-64A07105AD69}"/>
              </a:ext>
            </a:extLst>
          </p:cNvPr>
          <p:cNvCxnSpPr>
            <a:cxnSpLocks/>
          </p:cNvCxnSpPr>
          <p:nvPr/>
        </p:nvCxnSpPr>
        <p:spPr>
          <a:xfrm flipH="1">
            <a:off x="892853" y="605709"/>
            <a:ext cx="11490" cy="4181954"/>
          </a:xfrm>
          <a:prstGeom prst="line">
            <a:avLst/>
          </a:prstGeom>
          <a:ln w="9525">
            <a:solidFill>
              <a:srgbClr val="596AB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946667B-6895-126B-86DF-D04B2C26DC62}"/>
              </a:ext>
            </a:extLst>
          </p:cNvPr>
          <p:cNvCxnSpPr>
            <a:cxnSpLocks/>
          </p:cNvCxnSpPr>
          <p:nvPr/>
        </p:nvCxnSpPr>
        <p:spPr>
          <a:xfrm flipH="1">
            <a:off x="2905196" y="605709"/>
            <a:ext cx="11490" cy="4181954"/>
          </a:xfrm>
          <a:prstGeom prst="line">
            <a:avLst/>
          </a:prstGeom>
          <a:ln w="9525">
            <a:solidFill>
              <a:srgbClr val="596AB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0D1A612-D28F-5D85-99DE-9049102A9E61}"/>
              </a:ext>
            </a:extLst>
          </p:cNvPr>
          <p:cNvCxnSpPr>
            <a:cxnSpLocks/>
          </p:cNvCxnSpPr>
          <p:nvPr/>
        </p:nvCxnSpPr>
        <p:spPr>
          <a:xfrm flipH="1">
            <a:off x="4831998" y="605709"/>
            <a:ext cx="11490" cy="4181954"/>
          </a:xfrm>
          <a:prstGeom prst="line">
            <a:avLst/>
          </a:prstGeom>
          <a:ln w="9525">
            <a:solidFill>
              <a:srgbClr val="596AB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phic 59" descr="Single gear with solid fill">
            <a:extLst>
              <a:ext uri="{FF2B5EF4-FFF2-40B4-BE49-F238E27FC236}">
                <a16:creationId xmlns:a16="http://schemas.microsoft.com/office/drawing/2014/main" id="{0D7FEF15-5C15-CF35-EF96-52EDF56AC0FF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6981728" y="1557133"/>
            <a:ext cx="2426814" cy="2426814"/>
          </a:xfrm>
          <a:prstGeom prst="rect">
            <a:avLst/>
          </a:prstGeom>
        </p:spPr>
      </p:pic>
      <p:sp>
        <p:nvSpPr>
          <p:cNvPr id="61" name="Arrow: Chevron 60">
            <a:extLst>
              <a:ext uri="{FF2B5EF4-FFF2-40B4-BE49-F238E27FC236}">
                <a16:creationId xmlns:a16="http://schemas.microsoft.com/office/drawing/2014/main" id="{1A61BE46-4380-1DBF-75E9-69413B279C4A}"/>
              </a:ext>
            </a:extLst>
          </p:cNvPr>
          <p:cNvSpPr/>
          <p:nvPr/>
        </p:nvSpPr>
        <p:spPr>
          <a:xfrm>
            <a:off x="9027117" y="2324272"/>
            <a:ext cx="317243" cy="1006299"/>
          </a:xfrm>
          <a:prstGeom prst="chevron">
            <a:avLst/>
          </a:prstGeom>
          <a:solidFill>
            <a:srgbClr val="43A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AC07292D-B6CC-E50A-185E-C51195CAE86C}"/>
              </a:ext>
            </a:extLst>
          </p:cNvPr>
          <p:cNvSpPr txBox="1">
            <a:spLocks/>
          </p:cNvSpPr>
          <p:nvPr/>
        </p:nvSpPr>
        <p:spPr>
          <a:xfrm>
            <a:off x="9896318" y="1506494"/>
            <a:ext cx="1960720" cy="2522058"/>
          </a:xfrm>
          <a:prstGeom prst="round2DiagRect">
            <a:avLst/>
          </a:prstGeom>
          <a:solidFill>
            <a:srgbClr val="243D42"/>
          </a:solidFill>
        </p:spPr>
        <p:txBody>
          <a:bodyPr vert="horz" wrap="square" lIns="0" tIns="118872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45085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>
                <a:solidFill>
                  <a:schemeClr val="bg1"/>
                </a:solidFill>
              </a:rPr>
              <a:t>Data-Driven Procurement</a:t>
            </a:r>
            <a:br>
              <a:rPr lang="en-US" sz="1800" b="1">
                <a:solidFill>
                  <a:schemeClr val="bg1"/>
                </a:solidFill>
              </a:rPr>
            </a:br>
            <a:r>
              <a:rPr lang="en-US" sz="1800" b="1">
                <a:solidFill>
                  <a:schemeClr val="bg1"/>
                </a:solidFill>
              </a:rPr>
              <a:t>Planning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63" name="Arrow: Chevron 62">
            <a:extLst>
              <a:ext uri="{FF2B5EF4-FFF2-40B4-BE49-F238E27FC236}">
                <a16:creationId xmlns:a16="http://schemas.microsoft.com/office/drawing/2014/main" id="{E3C7C61E-6715-5F65-889B-27D5AE3A68BF}"/>
              </a:ext>
            </a:extLst>
          </p:cNvPr>
          <p:cNvSpPr/>
          <p:nvPr/>
        </p:nvSpPr>
        <p:spPr>
          <a:xfrm>
            <a:off x="9244777" y="2324272"/>
            <a:ext cx="317243" cy="1006299"/>
          </a:xfrm>
          <a:prstGeom prst="chevron">
            <a:avLst/>
          </a:prstGeom>
          <a:solidFill>
            <a:srgbClr val="00D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Arrow: Chevron 63">
            <a:extLst>
              <a:ext uri="{FF2B5EF4-FFF2-40B4-BE49-F238E27FC236}">
                <a16:creationId xmlns:a16="http://schemas.microsoft.com/office/drawing/2014/main" id="{29A2C7F2-49B3-8C76-F272-EF95582061EA}"/>
              </a:ext>
            </a:extLst>
          </p:cNvPr>
          <p:cNvSpPr/>
          <p:nvPr/>
        </p:nvSpPr>
        <p:spPr>
          <a:xfrm>
            <a:off x="9462435" y="2324272"/>
            <a:ext cx="317243" cy="1006299"/>
          </a:xfrm>
          <a:prstGeom prst="chevron">
            <a:avLst/>
          </a:prstGeom>
          <a:solidFill>
            <a:srgbClr val="FEA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00B34DF-8CAD-0965-336E-7668E41BA8AF}"/>
              </a:ext>
            </a:extLst>
          </p:cNvPr>
          <p:cNvSpPr txBox="1"/>
          <p:nvPr/>
        </p:nvSpPr>
        <p:spPr>
          <a:xfrm>
            <a:off x="6225720" y="1273851"/>
            <a:ext cx="1112568" cy="651980"/>
          </a:xfrm>
          <a:prstGeom prst="rect">
            <a:avLst/>
          </a:prstGeom>
          <a:solidFill>
            <a:srgbClr val="43AD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MAPP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F706BAA-2674-B846-9D10-40CAECD8B6E3}"/>
              </a:ext>
            </a:extLst>
          </p:cNvPr>
          <p:cNvSpPr txBox="1"/>
          <p:nvPr/>
        </p:nvSpPr>
        <p:spPr>
          <a:xfrm>
            <a:off x="6139389" y="3615248"/>
            <a:ext cx="1311023" cy="651980"/>
          </a:xfrm>
          <a:prstGeom prst="rect">
            <a:avLst/>
          </a:prstGeom>
          <a:solidFill>
            <a:srgbClr val="FEA74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tabLst>
                <a:tab pos="11430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Requirements plan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9165EDF-003D-10BB-99A9-FB0252C01DEB}"/>
              </a:ext>
            </a:extLst>
          </p:cNvPr>
          <p:cNvSpPr txBox="1"/>
          <p:nvPr/>
        </p:nvSpPr>
        <p:spPr>
          <a:xfrm>
            <a:off x="7589161" y="2461527"/>
            <a:ext cx="1211949" cy="618026"/>
          </a:xfrm>
          <a:prstGeom prst="rect">
            <a:avLst/>
          </a:prstGeom>
          <a:solidFill>
            <a:srgbClr val="00DDE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ngagemen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F056376-DD97-4F22-3BDA-29CE0B26B37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10571271" y="1977835"/>
            <a:ext cx="610815" cy="610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8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033268D0-DFCD-AC90-C8D2-A181CB446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2545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033268D0-DFCD-AC90-C8D2-A181CB446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1C244C0-2918-05B8-6D9C-986053E6C8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3EAB76F5-F239-D8B1-B78F-96B3EAE5A4D7}"/>
              </a:ext>
            </a:extLst>
          </p:cNvPr>
          <p:cNvSpPr/>
          <p:nvPr/>
        </p:nvSpPr>
        <p:spPr>
          <a:xfrm flipH="1" flipV="1">
            <a:off x="4267200" y="0"/>
            <a:ext cx="7924800" cy="1809750"/>
          </a:xfrm>
          <a:prstGeom prst="round1Rect">
            <a:avLst>
              <a:gd name="adj" fmla="val 50000"/>
            </a:avLst>
          </a:prstGeom>
          <a:solidFill>
            <a:srgbClr val="243D42"/>
          </a:solidFill>
          <a:ln w="522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11681A-8892-2039-5CDF-9A1756F21B21}"/>
              </a:ext>
            </a:extLst>
          </p:cNvPr>
          <p:cNvCxnSpPr>
            <a:cxnSpLocks/>
          </p:cNvCxnSpPr>
          <p:nvPr/>
        </p:nvCxnSpPr>
        <p:spPr>
          <a:xfrm>
            <a:off x="1319351" y="6743465"/>
            <a:ext cx="108726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1EAD8C-8425-068E-629C-32C2D0715DCE}"/>
              </a:ext>
            </a:extLst>
          </p:cNvPr>
          <p:cNvGrpSpPr/>
          <p:nvPr/>
        </p:nvGrpSpPr>
        <p:grpSpPr>
          <a:xfrm>
            <a:off x="-1" y="6082301"/>
            <a:ext cx="1872343" cy="664552"/>
            <a:chOff x="-1" y="6082301"/>
            <a:chExt cx="1872343" cy="664552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805A084-0B32-0FF3-FB27-6A4646429EB5}"/>
                </a:ext>
              </a:extLst>
            </p:cNvPr>
            <p:cNvSpPr/>
            <p:nvPr/>
          </p:nvSpPr>
          <p:spPr>
            <a:xfrm rot="5400000" flipV="1">
              <a:off x="603895" y="5478405"/>
              <a:ext cx="664552" cy="1872343"/>
            </a:xfrm>
            <a:custGeom>
              <a:avLst/>
              <a:gdLst>
                <a:gd name="connsiteX0" fmla="*/ 693711 w 1298190"/>
                <a:gd name="connsiteY0" fmla="*/ 48 h 3657590"/>
                <a:gd name="connsiteX1" fmla="*/ 681011 w 1298190"/>
                <a:gd name="connsiteY1" fmla="*/ 48 h 3657590"/>
                <a:gd name="connsiteX2" fmla="*/ 681011 w 1298190"/>
                <a:gd name="connsiteY2" fmla="*/ 660902 h 3657590"/>
                <a:gd name="connsiteX3" fmla="*/ 679690 w 1298190"/>
                <a:gd name="connsiteY3" fmla="*/ 665095 h 3657590"/>
                <a:gd name="connsiteX4" fmla="*/ 678077 w 1298190"/>
                <a:gd name="connsiteY4" fmla="*/ 669818 h 3657590"/>
                <a:gd name="connsiteX5" fmla="*/ 676401 w 1298190"/>
                <a:gd name="connsiteY5" fmla="*/ 674352 h 3657590"/>
                <a:gd name="connsiteX6" fmla="*/ 674699 w 1298190"/>
                <a:gd name="connsiteY6" fmla="*/ 678682 h 3657590"/>
                <a:gd name="connsiteX7" fmla="*/ 672959 w 1298190"/>
                <a:gd name="connsiteY7" fmla="*/ 682835 h 3657590"/>
                <a:gd name="connsiteX8" fmla="*/ 671194 w 1298190"/>
                <a:gd name="connsiteY8" fmla="*/ 686824 h 3657590"/>
                <a:gd name="connsiteX9" fmla="*/ 669403 w 1298190"/>
                <a:gd name="connsiteY9" fmla="*/ 690648 h 3657590"/>
                <a:gd name="connsiteX10" fmla="*/ 667613 w 1298190"/>
                <a:gd name="connsiteY10" fmla="*/ 694289 h 3657590"/>
                <a:gd name="connsiteX11" fmla="*/ 665797 w 1298190"/>
                <a:gd name="connsiteY11" fmla="*/ 697797 h 3657590"/>
                <a:gd name="connsiteX12" fmla="*/ 663980 w 1298190"/>
                <a:gd name="connsiteY12" fmla="*/ 701151 h 3657590"/>
                <a:gd name="connsiteX13" fmla="*/ 662152 w 1298190"/>
                <a:gd name="connsiteY13" fmla="*/ 704376 h 3657590"/>
                <a:gd name="connsiteX14" fmla="*/ 660310 w 1298190"/>
                <a:gd name="connsiteY14" fmla="*/ 707476 h 3657590"/>
                <a:gd name="connsiteX15" fmla="*/ 658469 w 1298190"/>
                <a:gd name="connsiteY15" fmla="*/ 710432 h 3657590"/>
                <a:gd name="connsiteX16" fmla="*/ 656614 w 1298190"/>
                <a:gd name="connsiteY16" fmla="*/ 713281 h 3657590"/>
                <a:gd name="connsiteX17" fmla="*/ 654760 w 1298190"/>
                <a:gd name="connsiteY17" fmla="*/ 715993 h 3657590"/>
                <a:gd name="connsiteX18" fmla="*/ 652906 w 1298190"/>
                <a:gd name="connsiteY18" fmla="*/ 718598 h 3657590"/>
                <a:gd name="connsiteX19" fmla="*/ 651039 w 1298190"/>
                <a:gd name="connsiteY19" fmla="*/ 721089 h 3657590"/>
                <a:gd name="connsiteX20" fmla="*/ 649172 w 1298190"/>
                <a:gd name="connsiteY20" fmla="*/ 723465 h 3657590"/>
                <a:gd name="connsiteX21" fmla="*/ 647305 w 1298190"/>
                <a:gd name="connsiteY21" fmla="*/ 725722 h 3657590"/>
                <a:gd name="connsiteX22" fmla="*/ 645426 w 1298190"/>
                <a:gd name="connsiteY22" fmla="*/ 727886 h 3657590"/>
                <a:gd name="connsiteX23" fmla="*/ 643533 w 1298190"/>
                <a:gd name="connsiteY23" fmla="*/ 729939 h 3657590"/>
                <a:gd name="connsiteX24" fmla="*/ 612863 w 1298190"/>
                <a:gd name="connsiteY24" fmla="*/ 746936 h 3657590"/>
                <a:gd name="connsiteX25" fmla="*/ 553097 w 1298190"/>
                <a:gd name="connsiteY25" fmla="*/ 653094 h 3657590"/>
                <a:gd name="connsiteX26" fmla="*/ 552056 w 1298190"/>
                <a:gd name="connsiteY26" fmla="*/ 647543 h 3657590"/>
                <a:gd name="connsiteX27" fmla="*/ 546430 w 1298190"/>
                <a:gd name="connsiteY27" fmla="*/ 647910 h 3657590"/>
                <a:gd name="connsiteX28" fmla="*/ 385826 w 1298190"/>
                <a:gd name="connsiteY28" fmla="*/ 681580 h 3657590"/>
                <a:gd name="connsiteX29" fmla="*/ 384772 w 1298190"/>
                <a:gd name="connsiteY29" fmla="*/ 681961 h 3657590"/>
                <a:gd name="connsiteX30" fmla="*/ 382968 w 1298190"/>
                <a:gd name="connsiteY30" fmla="*/ 682607 h 3657590"/>
                <a:gd name="connsiteX31" fmla="*/ 380504 w 1298190"/>
                <a:gd name="connsiteY31" fmla="*/ 683510 h 3657590"/>
                <a:gd name="connsiteX32" fmla="*/ 381660 w 1298190"/>
                <a:gd name="connsiteY32" fmla="*/ 688402 h 3657590"/>
                <a:gd name="connsiteX33" fmla="*/ 381800 w 1298190"/>
                <a:gd name="connsiteY33" fmla="*/ 689021 h 3657590"/>
                <a:gd name="connsiteX34" fmla="*/ 383438 w 1298190"/>
                <a:gd name="connsiteY34" fmla="*/ 696542 h 3657590"/>
                <a:gd name="connsiteX35" fmla="*/ 384784 w 1298190"/>
                <a:gd name="connsiteY35" fmla="*/ 704058 h 3657590"/>
                <a:gd name="connsiteX36" fmla="*/ 385788 w 1298190"/>
                <a:gd name="connsiteY36" fmla="*/ 711067 h 3657590"/>
                <a:gd name="connsiteX37" fmla="*/ 386511 w 1298190"/>
                <a:gd name="connsiteY37" fmla="*/ 717661 h 3657590"/>
                <a:gd name="connsiteX38" fmla="*/ 387007 w 1298190"/>
                <a:gd name="connsiteY38" fmla="*/ 723907 h 3657590"/>
                <a:gd name="connsiteX39" fmla="*/ 387299 w 1298190"/>
                <a:gd name="connsiteY39" fmla="*/ 729825 h 3657590"/>
                <a:gd name="connsiteX40" fmla="*/ 387413 w 1298190"/>
                <a:gd name="connsiteY40" fmla="*/ 735480 h 3657590"/>
                <a:gd name="connsiteX41" fmla="*/ 387362 w 1298190"/>
                <a:gd name="connsiteY41" fmla="*/ 740849 h 3657590"/>
                <a:gd name="connsiteX42" fmla="*/ 387172 w 1298190"/>
                <a:gd name="connsiteY42" fmla="*/ 745968 h 3657590"/>
                <a:gd name="connsiteX43" fmla="*/ 386816 w 1298190"/>
                <a:gd name="connsiteY43" fmla="*/ 750845 h 3657590"/>
                <a:gd name="connsiteX44" fmla="*/ 386346 w 1298190"/>
                <a:gd name="connsiteY44" fmla="*/ 755493 h 3657590"/>
                <a:gd name="connsiteX45" fmla="*/ 385737 w 1298190"/>
                <a:gd name="connsiteY45" fmla="*/ 759923 h 3657590"/>
                <a:gd name="connsiteX46" fmla="*/ 385000 w 1298190"/>
                <a:gd name="connsiteY46" fmla="*/ 764130 h 3657590"/>
                <a:gd name="connsiteX47" fmla="*/ 384149 w 1298190"/>
                <a:gd name="connsiteY47" fmla="*/ 768128 h 3657590"/>
                <a:gd name="connsiteX48" fmla="*/ 383184 w 1298190"/>
                <a:gd name="connsiteY48" fmla="*/ 771914 h 3657590"/>
                <a:gd name="connsiteX49" fmla="*/ 382105 w 1298190"/>
                <a:gd name="connsiteY49" fmla="*/ 775485 h 3657590"/>
                <a:gd name="connsiteX50" fmla="*/ 380898 w 1298190"/>
                <a:gd name="connsiteY50" fmla="*/ 778834 h 3657590"/>
                <a:gd name="connsiteX51" fmla="*/ 379590 w 1298190"/>
                <a:gd name="connsiteY51" fmla="*/ 781984 h 3657590"/>
                <a:gd name="connsiteX52" fmla="*/ 378168 w 1298190"/>
                <a:gd name="connsiteY52" fmla="*/ 784906 h 3657590"/>
                <a:gd name="connsiteX53" fmla="*/ 376631 w 1298190"/>
                <a:gd name="connsiteY53" fmla="*/ 787600 h 3657590"/>
                <a:gd name="connsiteX54" fmla="*/ 374993 w 1298190"/>
                <a:gd name="connsiteY54" fmla="*/ 790075 h 3657590"/>
                <a:gd name="connsiteX55" fmla="*/ 373253 w 1298190"/>
                <a:gd name="connsiteY55" fmla="*/ 792313 h 3657590"/>
                <a:gd name="connsiteX56" fmla="*/ 365976 w 1298190"/>
                <a:gd name="connsiteY56" fmla="*/ 798519 h 3657590"/>
                <a:gd name="connsiteX57" fmla="*/ 352171 w 1298190"/>
                <a:gd name="connsiteY57" fmla="*/ 801952 h 3657590"/>
                <a:gd name="connsiteX58" fmla="*/ 267272 w 1298190"/>
                <a:gd name="connsiteY58" fmla="*/ 747149 h 3657590"/>
                <a:gd name="connsiteX59" fmla="*/ 263601 w 1298190"/>
                <a:gd name="connsiteY59" fmla="*/ 742867 h 3657590"/>
                <a:gd name="connsiteX60" fmla="*/ 258915 w 1298190"/>
                <a:gd name="connsiteY60" fmla="*/ 746017 h 3657590"/>
                <a:gd name="connsiteX61" fmla="*/ 172365 w 1298190"/>
                <a:gd name="connsiteY61" fmla="*/ 816948 h 3657590"/>
                <a:gd name="connsiteX62" fmla="*/ 136792 w 1298190"/>
                <a:gd name="connsiteY62" fmla="*/ 855555 h 3657590"/>
                <a:gd name="connsiteX63" fmla="*/ 133147 w 1298190"/>
                <a:gd name="connsiteY63" fmla="*/ 859875 h 3657590"/>
                <a:gd name="connsiteX64" fmla="*/ 137033 w 1298190"/>
                <a:gd name="connsiteY64" fmla="*/ 864003 h 3657590"/>
                <a:gd name="connsiteX65" fmla="*/ 151041 w 1298190"/>
                <a:gd name="connsiteY65" fmla="*/ 880523 h 3657590"/>
                <a:gd name="connsiteX66" fmla="*/ 154940 w 1298190"/>
                <a:gd name="connsiteY66" fmla="*/ 885806 h 3657590"/>
                <a:gd name="connsiteX67" fmla="*/ 159322 w 1298190"/>
                <a:gd name="connsiteY67" fmla="*/ 892181 h 3657590"/>
                <a:gd name="connsiteX68" fmla="*/ 163056 w 1298190"/>
                <a:gd name="connsiteY68" fmla="*/ 898050 h 3657590"/>
                <a:gd name="connsiteX69" fmla="*/ 166269 w 1298190"/>
                <a:gd name="connsiteY69" fmla="*/ 903521 h 3657590"/>
                <a:gd name="connsiteX70" fmla="*/ 169075 w 1298190"/>
                <a:gd name="connsiteY70" fmla="*/ 908666 h 3657590"/>
                <a:gd name="connsiteX71" fmla="*/ 171514 w 1298190"/>
                <a:gd name="connsiteY71" fmla="*/ 913543 h 3657590"/>
                <a:gd name="connsiteX72" fmla="*/ 173647 w 1298190"/>
                <a:gd name="connsiteY72" fmla="*/ 918191 h 3657590"/>
                <a:gd name="connsiteX73" fmla="*/ 175489 w 1298190"/>
                <a:gd name="connsiteY73" fmla="*/ 922626 h 3657590"/>
                <a:gd name="connsiteX74" fmla="*/ 177076 w 1298190"/>
                <a:gd name="connsiteY74" fmla="*/ 926854 h 3657590"/>
                <a:gd name="connsiteX75" fmla="*/ 178410 w 1298190"/>
                <a:gd name="connsiteY75" fmla="*/ 930906 h 3657590"/>
                <a:gd name="connsiteX76" fmla="*/ 179502 w 1298190"/>
                <a:gd name="connsiteY76" fmla="*/ 934791 h 3657590"/>
                <a:gd name="connsiteX77" fmla="*/ 180378 w 1298190"/>
                <a:gd name="connsiteY77" fmla="*/ 938511 h 3657590"/>
                <a:gd name="connsiteX78" fmla="*/ 181039 w 1298190"/>
                <a:gd name="connsiteY78" fmla="*/ 942083 h 3657590"/>
                <a:gd name="connsiteX79" fmla="*/ 181483 w 1298190"/>
                <a:gd name="connsiteY79" fmla="*/ 945486 h 3657590"/>
                <a:gd name="connsiteX80" fmla="*/ 181712 w 1298190"/>
                <a:gd name="connsiteY80" fmla="*/ 948751 h 3657590"/>
                <a:gd name="connsiteX81" fmla="*/ 181737 w 1298190"/>
                <a:gd name="connsiteY81" fmla="*/ 951861 h 3657590"/>
                <a:gd name="connsiteX82" fmla="*/ 181559 w 1298190"/>
                <a:gd name="connsiteY82" fmla="*/ 954833 h 3657590"/>
                <a:gd name="connsiteX83" fmla="*/ 181178 w 1298190"/>
                <a:gd name="connsiteY83" fmla="*/ 957665 h 3657590"/>
                <a:gd name="connsiteX84" fmla="*/ 180581 w 1298190"/>
                <a:gd name="connsiteY84" fmla="*/ 960345 h 3657590"/>
                <a:gd name="connsiteX85" fmla="*/ 179769 w 1298190"/>
                <a:gd name="connsiteY85" fmla="*/ 962869 h 3657590"/>
                <a:gd name="connsiteX86" fmla="*/ 178740 w 1298190"/>
                <a:gd name="connsiteY86" fmla="*/ 965246 h 3657590"/>
                <a:gd name="connsiteX87" fmla="*/ 177991 w 1298190"/>
                <a:gd name="connsiteY87" fmla="*/ 966654 h 3657590"/>
                <a:gd name="connsiteX88" fmla="*/ 177495 w 1298190"/>
                <a:gd name="connsiteY88" fmla="*/ 967468 h 3657590"/>
                <a:gd name="connsiteX89" fmla="*/ 175997 w 1298190"/>
                <a:gd name="connsiteY89" fmla="*/ 969552 h 3657590"/>
                <a:gd name="connsiteX90" fmla="*/ 132106 w 1298190"/>
                <a:gd name="connsiteY90" fmla="*/ 983586 h 3657590"/>
                <a:gd name="connsiteX91" fmla="*/ 66777 w 1298190"/>
                <a:gd name="connsiteY91" fmla="*/ 971481 h 3657590"/>
                <a:gd name="connsiteX92" fmla="*/ 63069 w 1298190"/>
                <a:gd name="connsiteY92" fmla="*/ 970172 h 3657590"/>
                <a:gd name="connsiteX93" fmla="*/ 61456 w 1298190"/>
                <a:gd name="connsiteY93" fmla="*/ 969602 h 3657590"/>
                <a:gd name="connsiteX94" fmla="*/ 58967 w 1298190"/>
                <a:gd name="connsiteY94" fmla="*/ 974672 h 3657590"/>
                <a:gd name="connsiteX95" fmla="*/ 7938 w 1298190"/>
                <a:gd name="connsiteY95" fmla="*/ 1130637 h 3657590"/>
                <a:gd name="connsiteX96" fmla="*/ 6948 w 1298190"/>
                <a:gd name="connsiteY96" fmla="*/ 1136199 h 3657590"/>
                <a:gd name="connsiteX97" fmla="*/ 12370 w 1298190"/>
                <a:gd name="connsiteY97" fmla="*/ 1137827 h 3657590"/>
                <a:gd name="connsiteX98" fmla="*/ 87122 w 1298190"/>
                <a:gd name="connsiteY98" fmla="*/ 1180560 h 3657590"/>
                <a:gd name="connsiteX99" fmla="*/ 89383 w 1298190"/>
                <a:gd name="connsiteY99" fmla="*/ 1183188 h 3657590"/>
                <a:gd name="connsiteX100" fmla="*/ 91377 w 1298190"/>
                <a:gd name="connsiteY100" fmla="*/ 1185754 h 3657590"/>
                <a:gd name="connsiteX101" fmla="*/ 93104 w 1298190"/>
                <a:gd name="connsiteY101" fmla="*/ 1188229 h 3657590"/>
                <a:gd name="connsiteX102" fmla="*/ 94577 w 1298190"/>
                <a:gd name="connsiteY102" fmla="*/ 1190621 h 3657590"/>
                <a:gd name="connsiteX103" fmla="*/ 95822 w 1298190"/>
                <a:gd name="connsiteY103" fmla="*/ 1192942 h 3657590"/>
                <a:gd name="connsiteX104" fmla="*/ 96863 w 1298190"/>
                <a:gd name="connsiteY104" fmla="*/ 1195219 h 3657590"/>
                <a:gd name="connsiteX105" fmla="*/ 97701 w 1298190"/>
                <a:gd name="connsiteY105" fmla="*/ 1197426 h 3657590"/>
                <a:gd name="connsiteX106" fmla="*/ 98349 w 1298190"/>
                <a:gd name="connsiteY106" fmla="*/ 1199586 h 3657590"/>
                <a:gd name="connsiteX107" fmla="*/ 98819 w 1298190"/>
                <a:gd name="connsiteY107" fmla="*/ 1201708 h 3657590"/>
                <a:gd name="connsiteX108" fmla="*/ 99124 w 1298190"/>
                <a:gd name="connsiteY108" fmla="*/ 1203802 h 3657590"/>
                <a:gd name="connsiteX109" fmla="*/ 99238 w 1298190"/>
                <a:gd name="connsiteY109" fmla="*/ 1205845 h 3657590"/>
                <a:gd name="connsiteX110" fmla="*/ 99238 w 1298190"/>
                <a:gd name="connsiteY110" fmla="*/ 1206277 h 3657590"/>
                <a:gd name="connsiteX111" fmla="*/ 99187 w 1298190"/>
                <a:gd name="connsiteY111" fmla="*/ 1207880 h 3657590"/>
                <a:gd name="connsiteX112" fmla="*/ 98946 w 1298190"/>
                <a:gd name="connsiteY112" fmla="*/ 1209884 h 3657590"/>
                <a:gd name="connsiteX113" fmla="*/ 98540 w 1298190"/>
                <a:gd name="connsiteY113" fmla="*/ 1211868 h 3657590"/>
                <a:gd name="connsiteX114" fmla="*/ 97968 w 1298190"/>
                <a:gd name="connsiteY114" fmla="*/ 1213847 h 3657590"/>
                <a:gd name="connsiteX115" fmla="*/ 97232 w 1298190"/>
                <a:gd name="connsiteY115" fmla="*/ 1215802 h 3657590"/>
                <a:gd name="connsiteX116" fmla="*/ 96330 w 1298190"/>
                <a:gd name="connsiteY116" fmla="*/ 1217757 h 3657590"/>
                <a:gd name="connsiteX117" fmla="*/ 95276 w 1298190"/>
                <a:gd name="connsiteY117" fmla="*/ 1219692 h 3657590"/>
                <a:gd name="connsiteX118" fmla="*/ 94082 w 1298190"/>
                <a:gd name="connsiteY118" fmla="*/ 1221606 h 3657590"/>
                <a:gd name="connsiteX119" fmla="*/ 92710 w 1298190"/>
                <a:gd name="connsiteY119" fmla="*/ 1223526 h 3657590"/>
                <a:gd name="connsiteX120" fmla="*/ 91225 w 1298190"/>
                <a:gd name="connsiteY120" fmla="*/ 1225416 h 3657590"/>
                <a:gd name="connsiteX121" fmla="*/ 89586 w 1298190"/>
                <a:gd name="connsiteY121" fmla="*/ 1227282 h 3657590"/>
                <a:gd name="connsiteX122" fmla="*/ 5436 w 1298190"/>
                <a:gd name="connsiteY122" fmla="*/ 1266016 h 3657590"/>
                <a:gd name="connsiteX123" fmla="*/ 3836 w 1298190"/>
                <a:gd name="connsiteY123" fmla="*/ 1266310 h 3657590"/>
                <a:gd name="connsiteX124" fmla="*/ -126 w 1298190"/>
                <a:gd name="connsiteY124" fmla="*/ 1267049 h 3657590"/>
                <a:gd name="connsiteX125" fmla="*/ 242 w 1298190"/>
                <a:gd name="connsiteY125" fmla="*/ 1272686 h 3657590"/>
                <a:gd name="connsiteX126" fmla="*/ 33922 w 1298190"/>
                <a:gd name="connsiteY126" fmla="*/ 1433290 h 3657590"/>
                <a:gd name="connsiteX127" fmla="*/ 35840 w 1298190"/>
                <a:gd name="connsiteY127" fmla="*/ 1438612 h 3657590"/>
                <a:gd name="connsiteX128" fmla="*/ 41352 w 1298190"/>
                <a:gd name="connsiteY128" fmla="*/ 1437303 h 3657590"/>
                <a:gd name="connsiteX129" fmla="*/ 88761 w 1298190"/>
                <a:gd name="connsiteY129" fmla="*/ 1431703 h 3657590"/>
                <a:gd name="connsiteX130" fmla="*/ 150864 w 1298190"/>
                <a:gd name="connsiteY130" fmla="*/ 1453128 h 3657590"/>
                <a:gd name="connsiteX131" fmla="*/ 126607 w 1298190"/>
                <a:gd name="connsiteY131" fmla="*/ 1524336 h 3657590"/>
                <a:gd name="connsiteX132" fmla="*/ 125400 w 1298190"/>
                <a:gd name="connsiteY132" fmla="*/ 1525771 h 3657590"/>
                <a:gd name="connsiteX133" fmla="*/ 124994 w 1298190"/>
                <a:gd name="connsiteY133" fmla="*/ 1526254 h 3657590"/>
                <a:gd name="connsiteX134" fmla="*/ 123279 w 1298190"/>
                <a:gd name="connsiteY134" fmla="*/ 1528261 h 3657590"/>
                <a:gd name="connsiteX135" fmla="*/ 121539 w 1298190"/>
                <a:gd name="connsiteY135" fmla="*/ 1530229 h 3657590"/>
                <a:gd name="connsiteX136" fmla="*/ 119749 w 1298190"/>
                <a:gd name="connsiteY136" fmla="*/ 1532223 h 3657590"/>
                <a:gd name="connsiteX137" fmla="*/ 117971 w 1298190"/>
                <a:gd name="connsiteY137" fmla="*/ 1534141 h 3657590"/>
                <a:gd name="connsiteX138" fmla="*/ 116116 w 1298190"/>
                <a:gd name="connsiteY138" fmla="*/ 1536109 h 3657590"/>
                <a:gd name="connsiteX139" fmla="*/ 114250 w 1298190"/>
                <a:gd name="connsiteY139" fmla="*/ 1538052 h 3657590"/>
                <a:gd name="connsiteX140" fmla="*/ 99492 w 1298190"/>
                <a:gd name="connsiteY140" fmla="*/ 1551870 h 3657590"/>
                <a:gd name="connsiteX141" fmla="*/ 99187 w 1298190"/>
                <a:gd name="connsiteY141" fmla="*/ 1552124 h 3657590"/>
                <a:gd name="connsiteX142" fmla="*/ 95200 w 1298190"/>
                <a:gd name="connsiteY142" fmla="*/ 1555540 h 3657590"/>
                <a:gd name="connsiteX143" fmla="*/ 98349 w 1298190"/>
                <a:gd name="connsiteY143" fmla="*/ 1560226 h 3657590"/>
                <a:gd name="connsiteX144" fmla="*/ 207899 w 1298190"/>
                <a:gd name="connsiteY144" fmla="*/ 1682311 h 3657590"/>
                <a:gd name="connsiteX145" fmla="*/ 212217 w 1298190"/>
                <a:gd name="connsiteY145" fmla="*/ 1685956 h 3657590"/>
                <a:gd name="connsiteX146" fmla="*/ 216332 w 1298190"/>
                <a:gd name="connsiteY146" fmla="*/ 1682083 h 3657590"/>
                <a:gd name="connsiteX147" fmla="*/ 303085 w 1298190"/>
                <a:gd name="connsiteY147" fmla="*/ 1637341 h 3657590"/>
                <a:gd name="connsiteX148" fmla="*/ 318998 w 1298190"/>
                <a:gd name="connsiteY148" fmla="*/ 1641113 h 3657590"/>
                <a:gd name="connsiteX149" fmla="*/ 323786 w 1298190"/>
                <a:gd name="connsiteY149" fmla="*/ 1752352 h 3657590"/>
                <a:gd name="connsiteX150" fmla="*/ 321907 w 1298190"/>
                <a:gd name="connsiteY150" fmla="*/ 1757686 h 3657590"/>
                <a:gd name="connsiteX151" fmla="*/ 326974 w 1298190"/>
                <a:gd name="connsiteY151" fmla="*/ 1760175 h 3657590"/>
                <a:gd name="connsiteX152" fmla="*/ 482968 w 1298190"/>
                <a:gd name="connsiteY152" fmla="*/ 1811203 h 3657590"/>
                <a:gd name="connsiteX153" fmla="*/ 488543 w 1298190"/>
                <a:gd name="connsiteY153" fmla="*/ 1812181 h 3657590"/>
                <a:gd name="connsiteX154" fmla="*/ 489800 w 1298190"/>
                <a:gd name="connsiteY154" fmla="*/ 1807990 h 3657590"/>
                <a:gd name="connsiteX155" fmla="*/ 490169 w 1298190"/>
                <a:gd name="connsiteY155" fmla="*/ 1806771 h 3657590"/>
                <a:gd name="connsiteX156" fmla="*/ 531647 w 1298190"/>
                <a:gd name="connsiteY156" fmla="*/ 1733124 h 3657590"/>
                <a:gd name="connsiteX157" fmla="*/ 533526 w 1298190"/>
                <a:gd name="connsiteY157" fmla="*/ 1731409 h 3657590"/>
                <a:gd name="connsiteX158" fmla="*/ 535406 w 1298190"/>
                <a:gd name="connsiteY158" fmla="*/ 1729822 h 3657590"/>
                <a:gd name="connsiteX159" fmla="*/ 537286 w 1298190"/>
                <a:gd name="connsiteY159" fmla="*/ 1728323 h 3657590"/>
                <a:gd name="connsiteX160" fmla="*/ 539178 w 1298190"/>
                <a:gd name="connsiteY160" fmla="*/ 1726952 h 3657590"/>
                <a:gd name="connsiteX161" fmla="*/ 541057 w 1298190"/>
                <a:gd name="connsiteY161" fmla="*/ 1725682 h 3657590"/>
                <a:gd name="connsiteX162" fmla="*/ 542962 w 1298190"/>
                <a:gd name="connsiteY162" fmla="*/ 1724539 h 3657590"/>
                <a:gd name="connsiteX163" fmla="*/ 544855 w 1298190"/>
                <a:gd name="connsiteY163" fmla="*/ 1723497 h 3657590"/>
                <a:gd name="connsiteX164" fmla="*/ 546760 w 1298190"/>
                <a:gd name="connsiteY164" fmla="*/ 1722583 h 3657590"/>
                <a:gd name="connsiteX165" fmla="*/ 548665 w 1298190"/>
                <a:gd name="connsiteY165" fmla="*/ 1721795 h 3657590"/>
                <a:gd name="connsiteX166" fmla="*/ 550582 w 1298190"/>
                <a:gd name="connsiteY166" fmla="*/ 1721135 h 3657590"/>
                <a:gd name="connsiteX167" fmla="*/ 552500 w 1298190"/>
                <a:gd name="connsiteY167" fmla="*/ 1720602 h 3657590"/>
                <a:gd name="connsiteX168" fmla="*/ 554443 w 1298190"/>
                <a:gd name="connsiteY168" fmla="*/ 1720208 h 3657590"/>
                <a:gd name="connsiteX169" fmla="*/ 556374 w 1298190"/>
                <a:gd name="connsiteY169" fmla="*/ 1719967 h 3657590"/>
                <a:gd name="connsiteX170" fmla="*/ 558329 w 1298190"/>
                <a:gd name="connsiteY170" fmla="*/ 1719865 h 3657590"/>
                <a:gd name="connsiteX171" fmla="*/ 558583 w 1298190"/>
                <a:gd name="connsiteY171" fmla="*/ 1719865 h 3657590"/>
                <a:gd name="connsiteX172" fmla="*/ 560298 w 1298190"/>
                <a:gd name="connsiteY172" fmla="*/ 1719929 h 3657590"/>
                <a:gd name="connsiteX173" fmla="*/ 562279 w 1298190"/>
                <a:gd name="connsiteY173" fmla="*/ 1720170 h 3657590"/>
                <a:gd name="connsiteX174" fmla="*/ 564286 w 1298190"/>
                <a:gd name="connsiteY174" fmla="*/ 1720589 h 3657590"/>
                <a:gd name="connsiteX175" fmla="*/ 566318 w 1298190"/>
                <a:gd name="connsiteY175" fmla="*/ 1721186 h 3657590"/>
                <a:gd name="connsiteX176" fmla="*/ 568400 w 1298190"/>
                <a:gd name="connsiteY176" fmla="*/ 1721999 h 3657590"/>
                <a:gd name="connsiteX177" fmla="*/ 570521 w 1298190"/>
                <a:gd name="connsiteY177" fmla="*/ 1723002 h 3657590"/>
                <a:gd name="connsiteX178" fmla="*/ 572706 w 1298190"/>
                <a:gd name="connsiteY178" fmla="*/ 1724247 h 3657590"/>
                <a:gd name="connsiteX179" fmla="*/ 574903 w 1298190"/>
                <a:gd name="connsiteY179" fmla="*/ 1725707 h 3657590"/>
                <a:gd name="connsiteX180" fmla="*/ 618349 w 1298190"/>
                <a:gd name="connsiteY180" fmla="*/ 1813705 h 3657590"/>
                <a:gd name="connsiteX181" fmla="*/ 619378 w 1298190"/>
                <a:gd name="connsiteY181" fmla="*/ 1819255 h 3657590"/>
                <a:gd name="connsiteX182" fmla="*/ 625017 w 1298190"/>
                <a:gd name="connsiteY182" fmla="*/ 1818887 h 3657590"/>
                <a:gd name="connsiteX183" fmla="*/ 785621 w 1298190"/>
                <a:gd name="connsiteY183" fmla="*/ 1785257 h 3657590"/>
                <a:gd name="connsiteX184" fmla="*/ 790942 w 1298190"/>
                <a:gd name="connsiteY184" fmla="*/ 1783327 h 3657590"/>
                <a:gd name="connsiteX185" fmla="*/ 790421 w 1298190"/>
                <a:gd name="connsiteY185" fmla="*/ 1781130 h 3657590"/>
                <a:gd name="connsiteX186" fmla="*/ 789647 w 1298190"/>
                <a:gd name="connsiteY186" fmla="*/ 1777828 h 3657590"/>
                <a:gd name="connsiteX187" fmla="*/ 801927 w 1298190"/>
                <a:gd name="connsiteY187" fmla="*/ 1670742 h 3657590"/>
                <a:gd name="connsiteX188" fmla="*/ 803960 w 1298190"/>
                <a:gd name="connsiteY188" fmla="*/ 1669218 h 3657590"/>
                <a:gd name="connsiteX189" fmla="*/ 805471 w 1298190"/>
                <a:gd name="connsiteY189" fmla="*/ 1668278 h 3657590"/>
                <a:gd name="connsiteX190" fmla="*/ 806080 w 1298190"/>
                <a:gd name="connsiteY190" fmla="*/ 1667935 h 3657590"/>
                <a:gd name="connsiteX191" fmla="*/ 808303 w 1298190"/>
                <a:gd name="connsiteY191" fmla="*/ 1666881 h 3657590"/>
                <a:gd name="connsiteX192" fmla="*/ 810640 w 1298190"/>
                <a:gd name="connsiteY192" fmla="*/ 1666055 h 3657590"/>
                <a:gd name="connsiteX193" fmla="*/ 813078 w 1298190"/>
                <a:gd name="connsiteY193" fmla="*/ 1665446 h 3657590"/>
                <a:gd name="connsiteX194" fmla="*/ 815631 w 1298190"/>
                <a:gd name="connsiteY194" fmla="*/ 1665065 h 3657590"/>
                <a:gd name="connsiteX195" fmla="*/ 818298 w 1298190"/>
                <a:gd name="connsiteY195" fmla="*/ 1664887 h 3657590"/>
                <a:gd name="connsiteX196" fmla="*/ 819225 w 1298190"/>
                <a:gd name="connsiteY196" fmla="*/ 1664874 h 3657590"/>
                <a:gd name="connsiteX197" fmla="*/ 821079 w 1298190"/>
                <a:gd name="connsiteY197" fmla="*/ 1664912 h 3657590"/>
                <a:gd name="connsiteX198" fmla="*/ 823987 w 1298190"/>
                <a:gd name="connsiteY198" fmla="*/ 1665166 h 3657590"/>
                <a:gd name="connsiteX199" fmla="*/ 827010 w 1298190"/>
                <a:gd name="connsiteY199" fmla="*/ 1665623 h 3657590"/>
                <a:gd name="connsiteX200" fmla="*/ 830160 w 1298190"/>
                <a:gd name="connsiteY200" fmla="*/ 1666309 h 3657590"/>
                <a:gd name="connsiteX201" fmla="*/ 833436 w 1298190"/>
                <a:gd name="connsiteY201" fmla="*/ 1667211 h 3657590"/>
                <a:gd name="connsiteX202" fmla="*/ 836840 w 1298190"/>
                <a:gd name="connsiteY202" fmla="*/ 1668341 h 3657590"/>
                <a:gd name="connsiteX203" fmla="*/ 840396 w 1298190"/>
                <a:gd name="connsiteY203" fmla="*/ 1669700 h 3657590"/>
                <a:gd name="connsiteX204" fmla="*/ 844091 w 1298190"/>
                <a:gd name="connsiteY204" fmla="*/ 1671326 h 3657590"/>
                <a:gd name="connsiteX205" fmla="*/ 847965 w 1298190"/>
                <a:gd name="connsiteY205" fmla="*/ 1673205 h 3657590"/>
                <a:gd name="connsiteX206" fmla="*/ 852016 w 1298190"/>
                <a:gd name="connsiteY206" fmla="*/ 1675390 h 3657590"/>
                <a:gd name="connsiteX207" fmla="*/ 856245 w 1298190"/>
                <a:gd name="connsiteY207" fmla="*/ 1677866 h 3657590"/>
                <a:gd name="connsiteX208" fmla="*/ 860728 w 1298190"/>
                <a:gd name="connsiteY208" fmla="*/ 1680711 h 3657590"/>
                <a:gd name="connsiteX209" fmla="*/ 865478 w 1298190"/>
                <a:gd name="connsiteY209" fmla="*/ 1683962 h 3657590"/>
                <a:gd name="connsiteX210" fmla="*/ 870571 w 1298190"/>
                <a:gd name="connsiteY210" fmla="*/ 1687721 h 3657590"/>
                <a:gd name="connsiteX211" fmla="*/ 876108 w 1298190"/>
                <a:gd name="connsiteY211" fmla="*/ 1692103 h 3657590"/>
                <a:gd name="connsiteX212" fmla="*/ 878559 w 1298190"/>
                <a:gd name="connsiteY212" fmla="*/ 1694148 h 3657590"/>
                <a:gd name="connsiteX213" fmla="*/ 902664 w 1298190"/>
                <a:gd name="connsiteY213" fmla="*/ 1717935 h 3657590"/>
                <a:gd name="connsiteX214" fmla="*/ 903108 w 1298190"/>
                <a:gd name="connsiteY214" fmla="*/ 1770627 h 3657590"/>
                <a:gd name="connsiteX215" fmla="*/ 903108 w 1298190"/>
                <a:gd name="connsiteY215" fmla="*/ 1772100 h 3657590"/>
                <a:gd name="connsiteX216" fmla="*/ 903121 w 1298190"/>
                <a:gd name="connsiteY216" fmla="*/ 1772621 h 3657590"/>
                <a:gd name="connsiteX217" fmla="*/ 903121 w 1298190"/>
                <a:gd name="connsiteY217" fmla="*/ 1773230 h 3657590"/>
                <a:gd name="connsiteX218" fmla="*/ 903133 w 1298190"/>
                <a:gd name="connsiteY218" fmla="*/ 1773891 h 3657590"/>
                <a:gd name="connsiteX219" fmla="*/ 903133 w 1298190"/>
                <a:gd name="connsiteY219" fmla="*/ 1774627 h 3657590"/>
                <a:gd name="connsiteX220" fmla="*/ 903146 w 1298190"/>
                <a:gd name="connsiteY220" fmla="*/ 1775440 h 3657590"/>
                <a:gd name="connsiteX221" fmla="*/ 903146 w 1298190"/>
                <a:gd name="connsiteY221" fmla="*/ 1776304 h 3657590"/>
                <a:gd name="connsiteX222" fmla="*/ 903159 w 1298190"/>
                <a:gd name="connsiteY222" fmla="*/ 1777243 h 3657590"/>
                <a:gd name="connsiteX223" fmla="*/ 903159 w 1298190"/>
                <a:gd name="connsiteY223" fmla="*/ 1778247 h 3657590"/>
                <a:gd name="connsiteX224" fmla="*/ 903172 w 1298190"/>
                <a:gd name="connsiteY224" fmla="*/ 1779301 h 3657590"/>
                <a:gd name="connsiteX225" fmla="*/ 903184 w 1298190"/>
                <a:gd name="connsiteY225" fmla="*/ 1780418 h 3657590"/>
                <a:gd name="connsiteX226" fmla="*/ 903197 w 1298190"/>
                <a:gd name="connsiteY226" fmla="*/ 1781600 h 3657590"/>
                <a:gd name="connsiteX227" fmla="*/ 903197 w 1298190"/>
                <a:gd name="connsiteY227" fmla="*/ 1782819 h 3657590"/>
                <a:gd name="connsiteX228" fmla="*/ 903235 w 1298190"/>
                <a:gd name="connsiteY228" fmla="*/ 1786857 h 3657590"/>
                <a:gd name="connsiteX229" fmla="*/ 903299 w 1298190"/>
                <a:gd name="connsiteY229" fmla="*/ 1795062 h 3657590"/>
                <a:gd name="connsiteX230" fmla="*/ 903375 w 1298190"/>
                <a:gd name="connsiteY230" fmla="*/ 1803024 h 3657590"/>
                <a:gd name="connsiteX231" fmla="*/ 903438 w 1298190"/>
                <a:gd name="connsiteY231" fmla="*/ 1810759 h 3657590"/>
                <a:gd name="connsiteX232" fmla="*/ 903502 w 1298190"/>
                <a:gd name="connsiteY232" fmla="*/ 1818265 h 3657590"/>
                <a:gd name="connsiteX233" fmla="*/ 903553 w 1298190"/>
                <a:gd name="connsiteY233" fmla="*/ 1825554 h 3657590"/>
                <a:gd name="connsiteX234" fmla="*/ 903616 w 1298190"/>
                <a:gd name="connsiteY234" fmla="*/ 1832628 h 3657590"/>
                <a:gd name="connsiteX235" fmla="*/ 903629 w 1298190"/>
                <a:gd name="connsiteY235" fmla="*/ 1834558 h 3657590"/>
                <a:gd name="connsiteX236" fmla="*/ 903654 w 1298190"/>
                <a:gd name="connsiteY236" fmla="*/ 1839448 h 3657590"/>
                <a:gd name="connsiteX237" fmla="*/ 903629 w 1298190"/>
                <a:gd name="connsiteY237" fmla="*/ 1846001 h 3657590"/>
                <a:gd name="connsiteX238" fmla="*/ 903514 w 1298190"/>
                <a:gd name="connsiteY238" fmla="*/ 1852262 h 3657590"/>
                <a:gd name="connsiteX239" fmla="*/ 903311 w 1298190"/>
                <a:gd name="connsiteY239" fmla="*/ 1858231 h 3657590"/>
                <a:gd name="connsiteX240" fmla="*/ 903007 w 1298190"/>
                <a:gd name="connsiteY240" fmla="*/ 1863908 h 3657590"/>
                <a:gd name="connsiteX241" fmla="*/ 902587 w 1298190"/>
                <a:gd name="connsiteY241" fmla="*/ 1869267 h 3657590"/>
                <a:gd name="connsiteX242" fmla="*/ 902067 w 1298190"/>
                <a:gd name="connsiteY242" fmla="*/ 1874335 h 3657590"/>
                <a:gd name="connsiteX243" fmla="*/ 901419 w 1298190"/>
                <a:gd name="connsiteY243" fmla="*/ 1879084 h 3657590"/>
                <a:gd name="connsiteX244" fmla="*/ 900657 w 1298190"/>
                <a:gd name="connsiteY244" fmla="*/ 1883530 h 3657590"/>
                <a:gd name="connsiteX245" fmla="*/ 899781 w 1298190"/>
                <a:gd name="connsiteY245" fmla="*/ 1887670 h 3657590"/>
                <a:gd name="connsiteX246" fmla="*/ 898765 w 1298190"/>
                <a:gd name="connsiteY246" fmla="*/ 1891480 h 3657590"/>
                <a:gd name="connsiteX247" fmla="*/ 897622 w 1298190"/>
                <a:gd name="connsiteY247" fmla="*/ 1894959 h 3657590"/>
                <a:gd name="connsiteX248" fmla="*/ 896339 w 1298190"/>
                <a:gd name="connsiteY248" fmla="*/ 1898109 h 3657590"/>
                <a:gd name="connsiteX249" fmla="*/ 894904 w 1298190"/>
                <a:gd name="connsiteY249" fmla="*/ 1900941 h 3657590"/>
                <a:gd name="connsiteX250" fmla="*/ 893253 w 1298190"/>
                <a:gd name="connsiteY250" fmla="*/ 1903456 h 3657590"/>
                <a:gd name="connsiteX251" fmla="*/ 888490 w 1298190"/>
                <a:gd name="connsiteY251" fmla="*/ 1907863 h 3657590"/>
                <a:gd name="connsiteX252" fmla="*/ 879118 w 1298190"/>
                <a:gd name="connsiteY252" fmla="*/ 1910263 h 3657590"/>
                <a:gd name="connsiteX253" fmla="*/ 822806 w 1298190"/>
                <a:gd name="connsiteY253" fmla="*/ 1871922 h 3657590"/>
                <a:gd name="connsiteX254" fmla="*/ 819123 w 1298190"/>
                <a:gd name="connsiteY254" fmla="*/ 1867629 h 3657590"/>
                <a:gd name="connsiteX255" fmla="*/ 814437 w 1298190"/>
                <a:gd name="connsiteY255" fmla="*/ 1870779 h 3657590"/>
                <a:gd name="connsiteX256" fmla="*/ 751306 w 1298190"/>
                <a:gd name="connsiteY256" fmla="*/ 1922430 h 3657590"/>
                <a:gd name="connsiteX257" fmla="*/ 724623 w 1298190"/>
                <a:gd name="connsiteY257" fmla="*/ 1951360 h 3657590"/>
                <a:gd name="connsiteX258" fmla="*/ 720965 w 1298190"/>
                <a:gd name="connsiteY258" fmla="*/ 1955691 h 3657590"/>
                <a:gd name="connsiteX259" fmla="*/ 724851 w 1298190"/>
                <a:gd name="connsiteY259" fmla="*/ 1959806 h 3657590"/>
                <a:gd name="connsiteX260" fmla="*/ 733678 w 1298190"/>
                <a:gd name="connsiteY260" fmla="*/ 1970105 h 3657590"/>
                <a:gd name="connsiteX261" fmla="*/ 738707 w 1298190"/>
                <a:gd name="connsiteY261" fmla="*/ 1976938 h 3657590"/>
                <a:gd name="connsiteX262" fmla="*/ 742733 w 1298190"/>
                <a:gd name="connsiteY262" fmla="*/ 1983034 h 3657590"/>
                <a:gd name="connsiteX263" fmla="*/ 746010 w 1298190"/>
                <a:gd name="connsiteY263" fmla="*/ 1988546 h 3657590"/>
                <a:gd name="connsiteX264" fmla="*/ 748727 w 1298190"/>
                <a:gd name="connsiteY264" fmla="*/ 1993626 h 3657590"/>
                <a:gd name="connsiteX265" fmla="*/ 750975 w 1298190"/>
                <a:gd name="connsiteY265" fmla="*/ 1998363 h 3657590"/>
                <a:gd name="connsiteX266" fmla="*/ 752829 w 1298190"/>
                <a:gd name="connsiteY266" fmla="*/ 2002795 h 3657590"/>
                <a:gd name="connsiteX267" fmla="*/ 754328 w 1298190"/>
                <a:gd name="connsiteY267" fmla="*/ 2006960 h 3657590"/>
                <a:gd name="connsiteX268" fmla="*/ 755484 w 1298190"/>
                <a:gd name="connsiteY268" fmla="*/ 2010872 h 3657590"/>
                <a:gd name="connsiteX269" fmla="*/ 756335 w 1298190"/>
                <a:gd name="connsiteY269" fmla="*/ 2014568 h 3657590"/>
                <a:gd name="connsiteX270" fmla="*/ 756868 w 1298190"/>
                <a:gd name="connsiteY270" fmla="*/ 2018035 h 3657590"/>
                <a:gd name="connsiteX271" fmla="*/ 757122 w 1298190"/>
                <a:gd name="connsiteY271" fmla="*/ 2021286 h 3657590"/>
                <a:gd name="connsiteX272" fmla="*/ 757071 w 1298190"/>
                <a:gd name="connsiteY272" fmla="*/ 2024334 h 3657590"/>
                <a:gd name="connsiteX273" fmla="*/ 756716 w 1298190"/>
                <a:gd name="connsiteY273" fmla="*/ 2027154 h 3657590"/>
                <a:gd name="connsiteX274" fmla="*/ 756055 w 1298190"/>
                <a:gd name="connsiteY274" fmla="*/ 2029770 h 3657590"/>
                <a:gd name="connsiteX275" fmla="*/ 755077 w 1298190"/>
                <a:gd name="connsiteY275" fmla="*/ 2032170 h 3657590"/>
                <a:gd name="connsiteX276" fmla="*/ 754620 w 1298190"/>
                <a:gd name="connsiteY276" fmla="*/ 2033008 h 3657590"/>
                <a:gd name="connsiteX277" fmla="*/ 753744 w 1298190"/>
                <a:gd name="connsiteY277" fmla="*/ 2034354 h 3657590"/>
                <a:gd name="connsiteX278" fmla="*/ 722731 w 1298190"/>
                <a:gd name="connsiteY278" fmla="*/ 2044667 h 3657590"/>
                <a:gd name="connsiteX279" fmla="*/ 675182 w 1298190"/>
                <a:gd name="connsiteY279" fmla="*/ 2035789 h 3657590"/>
                <a:gd name="connsiteX280" fmla="*/ 671486 w 1298190"/>
                <a:gd name="connsiteY280" fmla="*/ 2034481 h 3657590"/>
                <a:gd name="connsiteX281" fmla="*/ 669860 w 1298190"/>
                <a:gd name="connsiteY281" fmla="*/ 2033897 h 3657590"/>
                <a:gd name="connsiteX282" fmla="*/ 667359 w 1298190"/>
                <a:gd name="connsiteY282" fmla="*/ 2038977 h 3657590"/>
                <a:gd name="connsiteX283" fmla="*/ 629830 w 1298190"/>
                <a:gd name="connsiteY283" fmla="*/ 2153709 h 3657590"/>
                <a:gd name="connsiteX284" fmla="*/ 628840 w 1298190"/>
                <a:gd name="connsiteY284" fmla="*/ 2159284 h 3657590"/>
                <a:gd name="connsiteX285" fmla="*/ 634250 w 1298190"/>
                <a:gd name="connsiteY285" fmla="*/ 2160897 h 3657590"/>
                <a:gd name="connsiteX286" fmla="*/ 687780 w 1298190"/>
                <a:gd name="connsiteY286" fmla="*/ 2191275 h 3657590"/>
                <a:gd name="connsiteX287" fmla="*/ 688174 w 1298190"/>
                <a:gd name="connsiteY287" fmla="*/ 2191707 h 3657590"/>
                <a:gd name="connsiteX288" fmla="*/ 690371 w 1298190"/>
                <a:gd name="connsiteY288" fmla="*/ 2194285 h 3657590"/>
                <a:gd name="connsiteX289" fmla="*/ 692162 w 1298190"/>
                <a:gd name="connsiteY289" fmla="*/ 2196736 h 3657590"/>
                <a:gd name="connsiteX290" fmla="*/ 693622 w 1298190"/>
                <a:gd name="connsiteY290" fmla="*/ 2199073 h 3657590"/>
                <a:gd name="connsiteX291" fmla="*/ 694778 w 1298190"/>
                <a:gd name="connsiteY291" fmla="*/ 2201321 h 3657590"/>
                <a:gd name="connsiteX292" fmla="*/ 695654 w 1298190"/>
                <a:gd name="connsiteY292" fmla="*/ 2203505 h 3657590"/>
                <a:gd name="connsiteX293" fmla="*/ 696264 w 1298190"/>
                <a:gd name="connsiteY293" fmla="*/ 2205614 h 3657590"/>
                <a:gd name="connsiteX294" fmla="*/ 696607 w 1298190"/>
                <a:gd name="connsiteY294" fmla="*/ 2207684 h 3657590"/>
                <a:gd name="connsiteX295" fmla="*/ 696696 w 1298190"/>
                <a:gd name="connsiteY295" fmla="*/ 2209436 h 3657590"/>
                <a:gd name="connsiteX296" fmla="*/ 696696 w 1298190"/>
                <a:gd name="connsiteY296" fmla="*/ 2209703 h 3657590"/>
                <a:gd name="connsiteX297" fmla="*/ 696530 w 1298190"/>
                <a:gd name="connsiteY297" fmla="*/ 2211697 h 3657590"/>
                <a:gd name="connsiteX298" fmla="*/ 696111 w 1298190"/>
                <a:gd name="connsiteY298" fmla="*/ 2213665 h 3657590"/>
                <a:gd name="connsiteX299" fmla="*/ 695451 w 1298190"/>
                <a:gd name="connsiteY299" fmla="*/ 2215621 h 3657590"/>
                <a:gd name="connsiteX300" fmla="*/ 694562 w 1298190"/>
                <a:gd name="connsiteY300" fmla="*/ 2217564 h 3657590"/>
                <a:gd name="connsiteX301" fmla="*/ 693444 w 1298190"/>
                <a:gd name="connsiteY301" fmla="*/ 2219482 h 3657590"/>
                <a:gd name="connsiteX302" fmla="*/ 692111 w 1298190"/>
                <a:gd name="connsiteY302" fmla="*/ 2221387 h 3657590"/>
                <a:gd name="connsiteX303" fmla="*/ 690574 w 1298190"/>
                <a:gd name="connsiteY303" fmla="*/ 2223267 h 3657590"/>
                <a:gd name="connsiteX304" fmla="*/ 629360 w 1298190"/>
                <a:gd name="connsiteY304" fmla="*/ 2251524 h 3657590"/>
                <a:gd name="connsiteX305" fmla="*/ 627760 w 1298190"/>
                <a:gd name="connsiteY305" fmla="*/ 2251829 h 3657590"/>
                <a:gd name="connsiteX306" fmla="*/ 623798 w 1298190"/>
                <a:gd name="connsiteY306" fmla="*/ 2252565 h 3657590"/>
                <a:gd name="connsiteX307" fmla="*/ 624166 w 1298190"/>
                <a:gd name="connsiteY307" fmla="*/ 2258191 h 3657590"/>
                <a:gd name="connsiteX308" fmla="*/ 648944 w 1298190"/>
                <a:gd name="connsiteY308" fmla="*/ 2376339 h 3657590"/>
                <a:gd name="connsiteX309" fmla="*/ 650861 w 1298190"/>
                <a:gd name="connsiteY309" fmla="*/ 2381661 h 3657590"/>
                <a:gd name="connsiteX310" fmla="*/ 656373 w 1298190"/>
                <a:gd name="connsiteY310" fmla="*/ 2380352 h 3657590"/>
                <a:gd name="connsiteX311" fmla="*/ 690498 w 1298190"/>
                <a:gd name="connsiteY311" fmla="*/ 2376377 h 3657590"/>
                <a:gd name="connsiteX312" fmla="*/ 734745 w 1298190"/>
                <a:gd name="connsiteY312" fmla="*/ 2391147 h 3657590"/>
                <a:gd name="connsiteX313" fmla="*/ 717282 w 1298190"/>
                <a:gd name="connsiteY313" fmla="*/ 2441160 h 3657590"/>
                <a:gd name="connsiteX314" fmla="*/ 715898 w 1298190"/>
                <a:gd name="connsiteY314" fmla="*/ 2442824 h 3657590"/>
                <a:gd name="connsiteX315" fmla="*/ 715695 w 1298190"/>
                <a:gd name="connsiteY315" fmla="*/ 2443065 h 3657590"/>
                <a:gd name="connsiteX316" fmla="*/ 713980 w 1298190"/>
                <a:gd name="connsiteY316" fmla="*/ 2445046 h 3657590"/>
                <a:gd name="connsiteX317" fmla="*/ 712190 w 1298190"/>
                <a:gd name="connsiteY317" fmla="*/ 2447065 h 3657590"/>
                <a:gd name="connsiteX318" fmla="*/ 710437 w 1298190"/>
                <a:gd name="connsiteY318" fmla="*/ 2448958 h 3657590"/>
                <a:gd name="connsiteX319" fmla="*/ 708646 w 1298190"/>
                <a:gd name="connsiteY319" fmla="*/ 2450837 h 3657590"/>
                <a:gd name="connsiteX320" fmla="*/ 697483 w 1298190"/>
                <a:gd name="connsiteY320" fmla="*/ 2461365 h 3657590"/>
                <a:gd name="connsiteX321" fmla="*/ 697166 w 1298190"/>
                <a:gd name="connsiteY321" fmla="*/ 2461619 h 3657590"/>
                <a:gd name="connsiteX322" fmla="*/ 693190 w 1298190"/>
                <a:gd name="connsiteY322" fmla="*/ 2465023 h 3657590"/>
                <a:gd name="connsiteX323" fmla="*/ 696340 w 1298190"/>
                <a:gd name="connsiteY323" fmla="*/ 2469722 h 3657590"/>
                <a:gd name="connsiteX324" fmla="*/ 776921 w 1298190"/>
                <a:gd name="connsiteY324" fmla="*/ 2559523 h 3657590"/>
                <a:gd name="connsiteX325" fmla="*/ 781252 w 1298190"/>
                <a:gd name="connsiteY325" fmla="*/ 2563168 h 3657590"/>
                <a:gd name="connsiteX326" fmla="*/ 785367 w 1298190"/>
                <a:gd name="connsiteY326" fmla="*/ 2559295 h 3657590"/>
                <a:gd name="connsiteX327" fmla="*/ 847863 w 1298190"/>
                <a:gd name="connsiteY327" fmla="*/ 2526999 h 3657590"/>
                <a:gd name="connsiteX328" fmla="*/ 858557 w 1298190"/>
                <a:gd name="connsiteY328" fmla="*/ 2529514 h 3657590"/>
                <a:gd name="connsiteX329" fmla="*/ 861325 w 1298190"/>
                <a:gd name="connsiteY329" fmla="*/ 2608990 h 3657590"/>
                <a:gd name="connsiteX330" fmla="*/ 859433 w 1298190"/>
                <a:gd name="connsiteY330" fmla="*/ 2614311 h 3657590"/>
                <a:gd name="connsiteX331" fmla="*/ 864500 w 1298190"/>
                <a:gd name="connsiteY331" fmla="*/ 2616813 h 3657590"/>
                <a:gd name="connsiteX332" fmla="*/ 979270 w 1298190"/>
                <a:gd name="connsiteY332" fmla="*/ 2654329 h 3657590"/>
                <a:gd name="connsiteX333" fmla="*/ 984845 w 1298190"/>
                <a:gd name="connsiteY333" fmla="*/ 2655319 h 3657590"/>
                <a:gd name="connsiteX334" fmla="*/ 986090 w 1298190"/>
                <a:gd name="connsiteY334" fmla="*/ 2651128 h 3657590"/>
                <a:gd name="connsiteX335" fmla="*/ 986458 w 1298190"/>
                <a:gd name="connsiteY335" fmla="*/ 2649896 h 3657590"/>
                <a:gd name="connsiteX336" fmla="*/ 1017078 w 1298190"/>
                <a:gd name="connsiteY336" fmla="*/ 2596125 h 3657590"/>
                <a:gd name="connsiteX337" fmla="*/ 1018957 w 1298190"/>
                <a:gd name="connsiteY337" fmla="*/ 2594487 h 3657590"/>
                <a:gd name="connsiteX338" fmla="*/ 1020837 w 1298190"/>
                <a:gd name="connsiteY338" fmla="*/ 2593013 h 3657590"/>
                <a:gd name="connsiteX339" fmla="*/ 1022704 w 1298190"/>
                <a:gd name="connsiteY339" fmla="*/ 2591693 h 3657590"/>
                <a:gd name="connsiteX340" fmla="*/ 1024583 w 1298190"/>
                <a:gd name="connsiteY340" fmla="*/ 2590537 h 3657590"/>
                <a:gd name="connsiteX341" fmla="*/ 1026450 w 1298190"/>
                <a:gd name="connsiteY341" fmla="*/ 2589559 h 3657590"/>
                <a:gd name="connsiteX342" fmla="*/ 1028330 w 1298190"/>
                <a:gd name="connsiteY342" fmla="*/ 2588746 h 3657590"/>
                <a:gd name="connsiteX343" fmla="*/ 1030209 w 1298190"/>
                <a:gd name="connsiteY343" fmla="*/ 2588124 h 3657590"/>
                <a:gd name="connsiteX344" fmla="*/ 1032102 w 1298190"/>
                <a:gd name="connsiteY344" fmla="*/ 2587692 h 3657590"/>
                <a:gd name="connsiteX345" fmla="*/ 1033994 w 1298190"/>
                <a:gd name="connsiteY345" fmla="*/ 2587463 h 3657590"/>
                <a:gd name="connsiteX346" fmla="*/ 1034972 w 1298190"/>
                <a:gd name="connsiteY346" fmla="*/ 2587438 h 3657590"/>
                <a:gd name="connsiteX347" fmla="*/ 1035899 w 1298190"/>
                <a:gd name="connsiteY347" fmla="*/ 2587463 h 3657590"/>
                <a:gd name="connsiteX348" fmla="*/ 1037829 w 1298190"/>
                <a:gd name="connsiteY348" fmla="*/ 2587705 h 3657590"/>
                <a:gd name="connsiteX349" fmla="*/ 1039798 w 1298190"/>
                <a:gd name="connsiteY349" fmla="*/ 2588200 h 3657590"/>
                <a:gd name="connsiteX350" fmla="*/ 1041804 w 1298190"/>
                <a:gd name="connsiteY350" fmla="*/ 2588962 h 3657590"/>
                <a:gd name="connsiteX351" fmla="*/ 1043887 w 1298190"/>
                <a:gd name="connsiteY351" fmla="*/ 2590004 h 3657590"/>
                <a:gd name="connsiteX352" fmla="*/ 1046046 w 1298190"/>
                <a:gd name="connsiteY352" fmla="*/ 2591388 h 3657590"/>
                <a:gd name="connsiteX353" fmla="*/ 1077085 w 1298190"/>
                <a:gd name="connsiteY353" fmla="*/ 2654811 h 3657590"/>
                <a:gd name="connsiteX354" fmla="*/ 1078126 w 1298190"/>
                <a:gd name="connsiteY354" fmla="*/ 2660361 h 3657590"/>
                <a:gd name="connsiteX355" fmla="*/ 1083752 w 1298190"/>
                <a:gd name="connsiteY355" fmla="*/ 2659993 h 3657590"/>
                <a:gd name="connsiteX356" fmla="*/ 1201900 w 1298190"/>
                <a:gd name="connsiteY356" fmla="*/ 2635253 h 3657590"/>
                <a:gd name="connsiteX357" fmla="*/ 1207222 w 1298190"/>
                <a:gd name="connsiteY357" fmla="*/ 2633323 h 3657590"/>
                <a:gd name="connsiteX358" fmla="*/ 1206701 w 1298190"/>
                <a:gd name="connsiteY358" fmla="*/ 2631113 h 3657590"/>
                <a:gd name="connsiteX359" fmla="*/ 1205913 w 1298190"/>
                <a:gd name="connsiteY359" fmla="*/ 2627811 h 3657590"/>
                <a:gd name="connsiteX360" fmla="*/ 1215045 w 1298190"/>
                <a:gd name="connsiteY360" fmla="*/ 2550507 h 3657590"/>
                <a:gd name="connsiteX361" fmla="*/ 1216709 w 1298190"/>
                <a:gd name="connsiteY361" fmla="*/ 2549414 h 3657590"/>
                <a:gd name="connsiteX362" fmla="*/ 1217127 w 1298190"/>
                <a:gd name="connsiteY362" fmla="*/ 2549173 h 3657590"/>
                <a:gd name="connsiteX363" fmla="*/ 1219350 w 1298190"/>
                <a:gd name="connsiteY363" fmla="*/ 2548195 h 3657590"/>
                <a:gd name="connsiteX364" fmla="*/ 1221738 w 1298190"/>
                <a:gd name="connsiteY364" fmla="*/ 2547560 h 3657590"/>
                <a:gd name="connsiteX365" fmla="*/ 1224290 w 1298190"/>
                <a:gd name="connsiteY365" fmla="*/ 2547230 h 3657590"/>
                <a:gd name="connsiteX366" fmla="*/ 1225827 w 1298190"/>
                <a:gd name="connsiteY366" fmla="*/ 2547179 h 3657590"/>
                <a:gd name="connsiteX367" fmla="*/ 1227008 w 1298190"/>
                <a:gd name="connsiteY367" fmla="*/ 2547204 h 3657590"/>
                <a:gd name="connsiteX368" fmla="*/ 1229891 w 1298190"/>
                <a:gd name="connsiteY368" fmla="*/ 2547484 h 3657590"/>
                <a:gd name="connsiteX369" fmla="*/ 1232952 w 1298190"/>
                <a:gd name="connsiteY369" fmla="*/ 2548068 h 3657590"/>
                <a:gd name="connsiteX370" fmla="*/ 1236177 w 1298190"/>
                <a:gd name="connsiteY370" fmla="*/ 2548957 h 3657590"/>
                <a:gd name="connsiteX371" fmla="*/ 1239606 w 1298190"/>
                <a:gd name="connsiteY371" fmla="*/ 2550164 h 3657590"/>
                <a:gd name="connsiteX372" fmla="*/ 1243213 w 1298190"/>
                <a:gd name="connsiteY372" fmla="*/ 2551700 h 3657590"/>
                <a:gd name="connsiteX373" fmla="*/ 1247061 w 1298190"/>
                <a:gd name="connsiteY373" fmla="*/ 2553593 h 3657590"/>
                <a:gd name="connsiteX374" fmla="*/ 1251151 w 1298190"/>
                <a:gd name="connsiteY374" fmla="*/ 2555891 h 3657590"/>
                <a:gd name="connsiteX375" fmla="*/ 1255520 w 1298190"/>
                <a:gd name="connsiteY375" fmla="*/ 2558635 h 3657590"/>
                <a:gd name="connsiteX376" fmla="*/ 1260282 w 1298190"/>
                <a:gd name="connsiteY376" fmla="*/ 2561937 h 3657590"/>
                <a:gd name="connsiteX377" fmla="*/ 1265540 w 1298190"/>
                <a:gd name="connsiteY377" fmla="*/ 2565962 h 3657590"/>
                <a:gd name="connsiteX378" fmla="*/ 1270163 w 1298190"/>
                <a:gd name="connsiteY378" fmla="*/ 2569836 h 3657590"/>
                <a:gd name="connsiteX379" fmla="*/ 1285364 w 1298190"/>
                <a:gd name="connsiteY379" fmla="*/ 2584949 h 3657590"/>
                <a:gd name="connsiteX380" fmla="*/ 1285364 w 1298190"/>
                <a:gd name="connsiteY380" fmla="*/ 3657639 h 3657590"/>
                <a:gd name="connsiteX381" fmla="*/ 1298064 w 1298190"/>
                <a:gd name="connsiteY381" fmla="*/ 3657639 h 3657590"/>
                <a:gd name="connsiteX382" fmla="*/ 1298064 w 1298190"/>
                <a:gd name="connsiteY382" fmla="*/ 2580237 h 3657590"/>
                <a:gd name="connsiteX383" fmla="*/ 1296540 w 1298190"/>
                <a:gd name="connsiteY383" fmla="*/ 2578459 h 3657590"/>
                <a:gd name="connsiteX384" fmla="*/ 1225878 w 1298190"/>
                <a:gd name="connsiteY384" fmla="*/ 2534403 h 3657590"/>
                <a:gd name="connsiteX385" fmla="*/ 1210359 w 1298190"/>
                <a:gd name="connsiteY385" fmla="*/ 2538404 h 3657590"/>
                <a:gd name="connsiteX386" fmla="*/ 1206041 w 1298190"/>
                <a:gd name="connsiteY386" fmla="*/ 2541451 h 3657590"/>
                <a:gd name="connsiteX387" fmla="*/ 1203056 w 1298190"/>
                <a:gd name="connsiteY387" fmla="*/ 2544309 h 3657590"/>
                <a:gd name="connsiteX388" fmla="*/ 1200122 w 1298190"/>
                <a:gd name="connsiteY388" fmla="*/ 2547979 h 3657590"/>
                <a:gd name="connsiteX389" fmla="*/ 1197887 w 1298190"/>
                <a:gd name="connsiteY389" fmla="*/ 2551561 h 3657590"/>
                <a:gd name="connsiteX390" fmla="*/ 1196096 w 1298190"/>
                <a:gd name="connsiteY390" fmla="*/ 2555079 h 3657590"/>
                <a:gd name="connsiteX391" fmla="*/ 1194649 w 1298190"/>
                <a:gd name="connsiteY391" fmla="*/ 2558546 h 3657590"/>
                <a:gd name="connsiteX392" fmla="*/ 1193455 w 1298190"/>
                <a:gd name="connsiteY392" fmla="*/ 2561962 h 3657590"/>
                <a:gd name="connsiteX393" fmla="*/ 1192477 w 1298190"/>
                <a:gd name="connsiteY393" fmla="*/ 2565327 h 3657590"/>
                <a:gd name="connsiteX394" fmla="*/ 1191677 w 1298190"/>
                <a:gd name="connsiteY394" fmla="*/ 2568667 h 3657590"/>
                <a:gd name="connsiteX395" fmla="*/ 1191016 w 1298190"/>
                <a:gd name="connsiteY395" fmla="*/ 2571944 h 3657590"/>
                <a:gd name="connsiteX396" fmla="*/ 1190496 w 1298190"/>
                <a:gd name="connsiteY396" fmla="*/ 2575183 h 3657590"/>
                <a:gd name="connsiteX397" fmla="*/ 1190077 w 1298190"/>
                <a:gd name="connsiteY397" fmla="*/ 2578370 h 3657590"/>
                <a:gd name="connsiteX398" fmla="*/ 1189746 w 1298190"/>
                <a:gd name="connsiteY398" fmla="*/ 2581520 h 3657590"/>
                <a:gd name="connsiteX399" fmla="*/ 1189518 w 1298190"/>
                <a:gd name="connsiteY399" fmla="*/ 2584631 h 3657590"/>
                <a:gd name="connsiteX400" fmla="*/ 1189353 w 1298190"/>
                <a:gd name="connsiteY400" fmla="*/ 2587679 h 3657590"/>
                <a:gd name="connsiteX401" fmla="*/ 1189264 w 1298190"/>
                <a:gd name="connsiteY401" fmla="*/ 2590689 h 3657590"/>
                <a:gd name="connsiteX402" fmla="*/ 1189238 w 1298190"/>
                <a:gd name="connsiteY402" fmla="*/ 2593648 h 3657590"/>
                <a:gd name="connsiteX403" fmla="*/ 1189277 w 1298190"/>
                <a:gd name="connsiteY403" fmla="*/ 2596569 h 3657590"/>
                <a:gd name="connsiteX404" fmla="*/ 1189365 w 1298190"/>
                <a:gd name="connsiteY404" fmla="*/ 2599427 h 3657590"/>
                <a:gd name="connsiteX405" fmla="*/ 1189492 w 1298190"/>
                <a:gd name="connsiteY405" fmla="*/ 2602234 h 3657590"/>
                <a:gd name="connsiteX406" fmla="*/ 1189670 w 1298190"/>
                <a:gd name="connsiteY406" fmla="*/ 2605002 h 3657590"/>
                <a:gd name="connsiteX407" fmla="*/ 1189886 w 1298190"/>
                <a:gd name="connsiteY407" fmla="*/ 2607707 h 3657590"/>
                <a:gd name="connsiteX408" fmla="*/ 1190140 w 1298190"/>
                <a:gd name="connsiteY408" fmla="*/ 2610374 h 3657590"/>
                <a:gd name="connsiteX409" fmla="*/ 1190432 w 1298190"/>
                <a:gd name="connsiteY409" fmla="*/ 2612978 h 3657590"/>
                <a:gd name="connsiteX410" fmla="*/ 1190762 w 1298190"/>
                <a:gd name="connsiteY410" fmla="*/ 2615518 h 3657590"/>
                <a:gd name="connsiteX411" fmla="*/ 1191118 w 1298190"/>
                <a:gd name="connsiteY411" fmla="*/ 2618007 h 3657590"/>
                <a:gd name="connsiteX412" fmla="*/ 1191499 w 1298190"/>
                <a:gd name="connsiteY412" fmla="*/ 2620458 h 3657590"/>
                <a:gd name="connsiteX413" fmla="*/ 1191905 w 1298190"/>
                <a:gd name="connsiteY413" fmla="*/ 2622846 h 3657590"/>
                <a:gd name="connsiteX414" fmla="*/ 1192350 w 1298190"/>
                <a:gd name="connsiteY414" fmla="*/ 2625157 h 3657590"/>
                <a:gd name="connsiteX415" fmla="*/ 1088426 w 1298190"/>
                <a:gd name="connsiteY415" fmla="*/ 2646912 h 3657590"/>
                <a:gd name="connsiteX416" fmla="*/ 1034972 w 1298190"/>
                <a:gd name="connsiteY416" fmla="*/ 2574738 h 3657590"/>
                <a:gd name="connsiteX417" fmla="*/ 1008099 w 1298190"/>
                <a:gd name="connsiteY417" fmla="*/ 2587121 h 3657590"/>
                <a:gd name="connsiteX418" fmla="*/ 1006930 w 1298190"/>
                <a:gd name="connsiteY418" fmla="*/ 2588226 h 3657590"/>
                <a:gd name="connsiteX419" fmla="*/ 1003298 w 1298190"/>
                <a:gd name="connsiteY419" fmla="*/ 2592010 h 3657590"/>
                <a:gd name="connsiteX420" fmla="*/ 1000009 w 1298190"/>
                <a:gd name="connsiteY420" fmla="*/ 2595871 h 3657590"/>
                <a:gd name="connsiteX421" fmla="*/ 996986 w 1298190"/>
                <a:gd name="connsiteY421" fmla="*/ 2599795 h 3657590"/>
                <a:gd name="connsiteX422" fmla="*/ 994192 w 1298190"/>
                <a:gd name="connsiteY422" fmla="*/ 2603770 h 3657590"/>
                <a:gd name="connsiteX423" fmla="*/ 991601 w 1298190"/>
                <a:gd name="connsiteY423" fmla="*/ 2607796 h 3657590"/>
                <a:gd name="connsiteX424" fmla="*/ 989176 w 1298190"/>
                <a:gd name="connsiteY424" fmla="*/ 2611847 h 3657590"/>
                <a:gd name="connsiteX425" fmla="*/ 986903 w 1298190"/>
                <a:gd name="connsiteY425" fmla="*/ 2615924 h 3657590"/>
                <a:gd name="connsiteX426" fmla="*/ 984782 w 1298190"/>
                <a:gd name="connsiteY426" fmla="*/ 2620026 h 3657590"/>
                <a:gd name="connsiteX427" fmla="*/ 982775 w 1298190"/>
                <a:gd name="connsiteY427" fmla="*/ 2624154 h 3657590"/>
                <a:gd name="connsiteX428" fmla="*/ 980908 w 1298190"/>
                <a:gd name="connsiteY428" fmla="*/ 2628307 h 3657590"/>
                <a:gd name="connsiteX429" fmla="*/ 979168 w 1298190"/>
                <a:gd name="connsiteY429" fmla="*/ 2632459 h 3657590"/>
                <a:gd name="connsiteX430" fmla="*/ 977530 w 1298190"/>
                <a:gd name="connsiteY430" fmla="*/ 2636650 h 3657590"/>
                <a:gd name="connsiteX431" fmla="*/ 976031 w 1298190"/>
                <a:gd name="connsiteY431" fmla="*/ 2640829 h 3657590"/>
                <a:gd name="connsiteX432" fmla="*/ 875092 w 1298190"/>
                <a:gd name="connsiteY432" fmla="*/ 2607822 h 3657590"/>
                <a:gd name="connsiteX433" fmla="*/ 864907 w 1298190"/>
                <a:gd name="connsiteY433" fmla="*/ 2518515 h 3657590"/>
                <a:gd name="connsiteX434" fmla="*/ 847876 w 1298190"/>
                <a:gd name="connsiteY434" fmla="*/ 2514299 h 3657590"/>
                <a:gd name="connsiteX435" fmla="*/ 780884 w 1298190"/>
                <a:gd name="connsiteY435" fmla="*/ 2546214 h 3657590"/>
                <a:gd name="connsiteX436" fmla="*/ 709992 w 1298190"/>
                <a:gd name="connsiteY436" fmla="*/ 2467220 h 3657590"/>
                <a:gd name="connsiteX437" fmla="*/ 713815 w 1298190"/>
                <a:gd name="connsiteY437" fmla="*/ 2463575 h 3657590"/>
                <a:gd name="connsiteX438" fmla="*/ 716952 w 1298190"/>
                <a:gd name="connsiteY438" fmla="*/ 2460426 h 3657590"/>
                <a:gd name="connsiteX439" fmla="*/ 745755 w 1298190"/>
                <a:gd name="connsiteY439" fmla="*/ 2384797 h 3657590"/>
                <a:gd name="connsiteX440" fmla="*/ 690752 w 1298190"/>
                <a:gd name="connsiteY440" fmla="*/ 2363690 h 3657590"/>
                <a:gd name="connsiteX441" fmla="*/ 659027 w 1298190"/>
                <a:gd name="connsiteY441" fmla="*/ 2366789 h 3657590"/>
                <a:gd name="connsiteX442" fmla="*/ 637247 w 1298190"/>
                <a:gd name="connsiteY442" fmla="*/ 2262878 h 3657590"/>
                <a:gd name="connsiteX443" fmla="*/ 641235 w 1298190"/>
                <a:gd name="connsiteY443" fmla="*/ 2261925 h 3657590"/>
                <a:gd name="connsiteX444" fmla="*/ 645235 w 1298190"/>
                <a:gd name="connsiteY444" fmla="*/ 2260884 h 3657590"/>
                <a:gd name="connsiteX445" fmla="*/ 649223 w 1298190"/>
                <a:gd name="connsiteY445" fmla="*/ 2259728 h 3657590"/>
                <a:gd name="connsiteX446" fmla="*/ 653236 w 1298190"/>
                <a:gd name="connsiteY446" fmla="*/ 2258484 h 3657590"/>
                <a:gd name="connsiteX447" fmla="*/ 657249 w 1298190"/>
                <a:gd name="connsiteY447" fmla="*/ 2257137 h 3657590"/>
                <a:gd name="connsiteX448" fmla="*/ 661263 w 1298190"/>
                <a:gd name="connsiteY448" fmla="*/ 2255677 h 3657590"/>
                <a:gd name="connsiteX449" fmla="*/ 665276 w 1298190"/>
                <a:gd name="connsiteY449" fmla="*/ 2254102 h 3657590"/>
                <a:gd name="connsiteX450" fmla="*/ 669289 w 1298190"/>
                <a:gd name="connsiteY450" fmla="*/ 2252413 h 3657590"/>
                <a:gd name="connsiteX451" fmla="*/ 673290 w 1298190"/>
                <a:gd name="connsiteY451" fmla="*/ 2250571 h 3657590"/>
                <a:gd name="connsiteX452" fmla="*/ 677265 w 1298190"/>
                <a:gd name="connsiteY452" fmla="*/ 2248590 h 3657590"/>
                <a:gd name="connsiteX453" fmla="*/ 681240 w 1298190"/>
                <a:gd name="connsiteY453" fmla="*/ 2246419 h 3657590"/>
                <a:gd name="connsiteX454" fmla="*/ 685202 w 1298190"/>
                <a:gd name="connsiteY454" fmla="*/ 2244044 h 3657590"/>
                <a:gd name="connsiteX455" fmla="*/ 689114 w 1298190"/>
                <a:gd name="connsiteY455" fmla="*/ 2241427 h 3657590"/>
                <a:gd name="connsiteX456" fmla="*/ 692987 w 1298190"/>
                <a:gd name="connsiteY456" fmla="*/ 2238494 h 3657590"/>
                <a:gd name="connsiteX457" fmla="*/ 696797 w 1298190"/>
                <a:gd name="connsiteY457" fmla="*/ 2235166 h 3657590"/>
                <a:gd name="connsiteX458" fmla="*/ 699731 w 1298190"/>
                <a:gd name="connsiteY458" fmla="*/ 2232169 h 3657590"/>
                <a:gd name="connsiteX459" fmla="*/ 709396 w 1298190"/>
                <a:gd name="connsiteY459" fmla="*/ 2209436 h 3657590"/>
                <a:gd name="connsiteX460" fmla="*/ 643318 w 1298190"/>
                <a:gd name="connsiteY460" fmla="*/ 2150470 h 3657590"/>
                <a:gd name="connsiteX461" fmla="*/ 676350 w 1298190"/>
                <a:gd name="connsiteY461" fmla="*/ 2049556 h 3657590"/>
                <a:gd name="connsiteX462" fmla="*/ 678077 w 1298190"/>
                <a:gd name="connsiteY462" fmla="*/ 2050090 h 3657590"/>
                <a:gd name="connsiteX463" fmla="*/ 679894 w 1298190"/>
                <a:gd name="connsiteY463" fmla="*/ 2050623 h 3657590"/>
                <a:gd name="connsiteX464" fmla="*/ 681748 w 1298190"/>
                <a:gd name="connsiteY464" fmla="*/ 2051156 h 3657590"/>
                <a:gd name="connsiteX465" fmla="*/ 683665 w 1298190"/>
                <a:gd name="connsiteY465" fmla="*/ 2051677 h 3657590"/>
                <a:gd name="connsiteX466" fmla="*/ 685659 w 1298190"/>
                <a:gd name="connsiteY466" fmla="*/ 2052185 h 3657590"/>
                <a:gd name="connsiteX467" fmla="*/ 687691 w 1298190"/>
                <a:gd name="connsiteY467" fmla="*/ 2052693 h 3657590"/>
                <a:gd name="connsiteX468" fmla="*/ 689787 w 1298190"/>
                <a:gd name="connsiteY468" fmla="*/ 2053188 h 3657590"/>
                <a:gd name="connsiteX469" fmla="*/ 691946 w 1298190"/>
                <a:gd name="connsiteY469" fmla="*/ 2053671 h 3657590"/>
                <a:gd name="connsiteX470" fmla="*/ 694156 w 1298190"/>
                <a:gd name="connsiteY470" fmla="*/ 2054141 h 3657590"/>
                <a:gd name="connsiteX471" fmla="*/ 696429 w 1298190"/>
                <a:gd name="connsiteY471" fmla="*/ 2054585 h 3657590"/>
                <a:gd name="connsiteX472" fmla="*/ 698753 w 1298190"/>
                <a:gd name="connsiteY472" fmla="*/ 2055017 h 3657590"/>
                <a:gd name="connsiteX473" fmla="*/ 701140 w 1298190"/>
                <a:gd name="connsiteY473" fmla="*/ 2055424 h 3657590"/>
                <a:gd name="connsiteX474" fmla="*/ 703592 w 1298190"/>
                <a:gd name="connsiteY474" fmla="*/ 2055805 h 3657590"/>
                <a:gd name="connsiteX475" fmla="*/ 706081 w 1298190"/>
                <a:gd name="connsiteY475" fmla="*/ 2056147 h 3657590"/>
                <a:gd name="connsiteX476" fmla="*/ 708646 w 1298190"/>
                <a:gd name="connsiteY476" fmla="*/ 2056465 h 3657590"/>
                <a:gd name="connsiteX477" fmla="*/ 711250 w 1298190"/>
                <a:gd name="connsiteY477" fmla="*/ 2056732 h 3657590"/>
                <a:gd name="connsiteX478" fmla="*/ 713917 w 1298190"/>
                <a:gd name="connsiteY478" fmla="*/ 2056960 h 3657590"/>
                <a:gd name="connsiteX479" fmla="*/ 716634 w 1298190"/>
                <a:gd name="connsiteY479" fmla="*/ 2057151 h 3657590"/>
                <a:gd name="connsiteX480" fmla="*/ 719416 w 1298190"/>
                <a:gd name="connsiteY480" fmla="*/ 2057265 h 3657590"/>
                <a:gd name="connsiteX481" fmla="*/ 722248 w 1298190"/>
                <a:gd name="connsiteY481" fmla="*/ 2057329 h 3657590"/>
                <a:gd name="connsiteX482" fmla="*/ 723188 w 1298190"/>
                <a:gd name="connsiteY482" fmla="*/ 2057329 h 3657590"/>
                <a:gd name="connsiteX483" fmla="*/ 725131 w 1298190"/>
                <a:gd name="connsiteY483" fmla="*/ 2057316 h 3657590"/>
                <a:gd name="connsiteX484" fmla="*/ 728077 w 1298190"/>
                <a:gd name="connsiteY484" fmla="*/ 2057214 h 3657590"/>
                <a:gd name="connsiteX485" fmla="*/ 731062 w 1298190"/>
                <a:gd name="connsiteY485" fmla="*/ 2057024 h 3657590"/>
                <a:gd name="connsiteX486" fmla="*/ 734122 w 1298190"/>
                <a:gd name="connsiteY486" fmla="*/ 2056719 h 3657590"/>
                <a:gd name="connsiteX487" fmla="*/ 737221 w 1298190"/>
                <a:gd name="connsiteY487" fmla="*/ 2056287 h 3657590"/>
                <a:gd name="connsiteX488" fmla="*/ 745197 w 1298190"/>
                <a:gd name="connsiteY488" fmla="*/ 2054446 h 3657590"/>
                <a:gd name="connsiteX489" fmla="*/ 751902 w 1298190"/>
                <a:gd name="connsiteY489" fmla="*/ 2051817 h 3657590"/>
                <a:gd name="connsiteX490" fmla="*/ 757160 w 1298190"/>
                <a:gd name="connsiteY490" fmla="*/ 2048680 h 3657590"/>
                <a:gd name="connsiteX491" fmla="*/ 761300 w 1298190"/>
                <a:gd name="connsiteY491" fmla="*/ 2045086 h 3657590"/>
                <a:gd name="connsiteX492" fmla="*/ 762710 w 1298190"/>
                <a:gd name="connsiteY492" fmla="*/ 2043524 h 3657590"/>
                <a:gd name="connsiteX493" fmla="*/ 765618 w 1298190"/>
                <a:gd name="connsiteY493" fmla="*/ 2039358 h 3657590"/>
                <a:gd name="connsiteX494" fmla="*/ 737920 w 1298190"/>
                <a:gd name="connsiteY494" fmla="*/ 1955322 h 3657590"/>
                <a:gd name="connsiteX495" fmla="*/ 760576 w 1298190"/>
                <a:gd name="connsiteY495" fmla="*/ 1931116 h 3657590"/>
                <a:gd name="connsiteX496" fmla="*/ 762456 w 1298190"/>
                <a:gd name="connsiteY496" fmla="*/ 1929287 h 3657590"/>
                <a:gd name="connsiteX497" fmla="*/ 764348 w 1298190"/>
                <a:gd name="connsiteY497" fmla="*/ 1927446 h 3657590"/>
                <a:gd name="connsiteX498" fmla="*/ 766253 w 1298190"/>
                <a:gd name="connsiteY498" fmla="*/ 1925617 h 3657590"/>
                <a:gd name="connsiteX499" fmla="*/ 768196 w 1298190"/>
                <a:gd name="connsiteY499" fmla="*/ 1923788 h 3657590"/>
                <a:gd name="connsiteX500" fmla="*/ 770114 w 1298190"/>
                <a:gd name="connsiteY500" fmla="*/ 1921998 h 3657590"/>
                <a:gd name="connsiteX501" fmla="*/ 772070 w 1298190"/>
                <a:gd name="connsiteY501" fmla="*/ 1920194 h 3657590"/>
                <a:gd name="connsiteX502" fmla="*/ 774051 w 1298190"/>
                <a:gd name="connsiteY502" fmla="*/ 1918391 h 3657590"/>
                <a:gd name="connsiteX503" fmla="*/ 776020 w 1298190"/>
                <a:gd name="connsiteY503" fmla="*/ 1916638 h 3657590"/>
                <a:gd name="connsiteX504" fmla="*/ 778026 w 1298190"/>
                <a:gd name="connsiteY504" fmla="*/ 1914848 h 3657590"/>
                <a:gd name="connsiteX505" fmla="*/ 780007 w 1298190"/>
                <a:gd name="connsiteY505" fmla="*/ 1913121 h 3657590"/>
                <a:gd name="connsiteX506" fmla="*/ 783106 w 1298190"/>
                <a:gd name="connsiteY506" fmla="*/ 1910453 h 3657590"/>
                <a:gd name="connsiteX507" fmla="*/ 787157 w 1298190"/>
                <a:gd name="connsiteY507" fmla="*/ 1907037 h 3657590"/>
                <a:gd name="connsiteX508" fmla="*/ 791247 w 1298190"/>
                <a:gd name="connsiteY508" fmla="*/ 1903684 h 3657590"/>
                <a:gd name="connsiteX509" fmla="*/ 795374 w 1298190"/>
                <a:gd name="connsiteY509" fmla="*/ 1900382 h 3657590"/>
                <a:gd name="connsiteX510" fmla="*/ 799553 w 1298190"/>
                <a:gd name="connsiteY510" fmla="*/ 1897131 h 3657590"/>
                <a:gd name="connsiteX511" fmla="*/ 803769 w 1298190"/>
                <a:gd name="connsiteY511" fmla="*/ 1893918 h 3657590"/>
                <a:gd name="connsiteX512" fmla="*/ 808023 w 1298190"/>
                <a:gd name="connsiteY512" fmla="*/ 1890769 h 3657590"/>
                <a:gd name="connsiteX513" fmla="*/ 812316 w 1298190"/>
                <a:gd name="connsiteY513" fmla="*/ 1887682 h 3657590"/>
                <a:gd name="connsiteX514" fmla="*/ 816659 w 1298190"/>
                <a:gd name="connsiteY514" fmla="*/ 1884635 h 3657590"/>
                <a:gd name="connsiteX515" fmla="*/ 816926 w 1298190"/>
                <a:gd name="connsiteY515" fmla="*/ 1884457 h 3657590"/>
                <a:gd name="connsiteX516" fmla="*/ 835024 w 1298190"/>
                <a:gd name="connsiteY516" fmla="*/ 1902008 h 3657590"/>
                <a:gd name="connsiteX517" fmla="*/ 844638 w 1298190"/>
                <a:gd name="connsiteY517" fmla="*/ 1909476 h 3657590"/>
                <a:gd name="connsiteX518" fmla="*/ 851864 w 1298190"/>
                <a:gd name="connsiteY518" fmla="*/ 1914162 h 3657590"/>
                <a:gd name="connsiteX519" fmla="*/ 857807 w 1298190"/>
                <a:gd name="connsiteY519" fmla="*/ 1917362 h 3657590"/>
                <a:gd name="connsiteX520" fmla="*/ 862875 w 1298190"/>
                <a:gd name="connsiteY520" fmla="*/ 1919585 h 3657590"/>
                <a:gd name="connsiteX521" fmla="*/ 867294 w 1298190"/>
                <a:gd name="connsiteY521" fmla="*/ 1921109 h 3657590"/>
                <a:gd name="connsiteX522" fmla="*/ 871168 w 1298190"/>
                <a:gd name="connsiteY522" fmla="*/ 1922099 h 3657590"/>
                <a:gd name="connsiteX523" fmla="*/ 874571 w 1298190"/>
                <a:gd name="connsiteY523" fmla="*/ 1922684 h 3657590"/>
                <a:gd name="connsiteX524" fmla="*/ 877543 w 1298190"/>
                <a:gd name="connsiteY524" fmla="*/ 1922938 h 3657590"/>
                <a:gd name="connsiteX525" fmla="*/ 879245 w 1298190"/>
                <a:gd name="connsiteY525" fmla="*/ 1922976 h 3657590"/>
                <a:gd name="connsiteX526" fmla="*/ 880058 w 1298190"/>
                <a:gd name="connsiteY526" fmla="*/ 1922976 h 3657590"/>
                <a:gd name="connsiteX527" fmla="*/ 882052 w 1298190"/>
                <a:gd name="connsiteY527" fmla="*/ 1922861 h 3657590"/>
                <a:gd name="connsiteX528" fmla="*/ 883385 w 1298190"/>
                <a:gd name="connsiteY528" fmla="*/ 1922722 h 3657590"/>
                <a:gd name="connsiteX529" fmla="*/ 883652 w 1298190"/>
                <a:gd name="connsiteY529" fmla="*/ 1922684 h 3657590"/>
                <a:gd name="connsiteX530" fmla="*/ 894840 w 1298190"/>
                <a:gd name="connsiteY530" fmla="*/ 1918861 h 3657590"/>
                <a:gd name="connsiteX531" fmla="*/ 902067 w 1298190"/>
                <a:gd name="connsiteY531" fmla="*/ 1912689 h 3657590"/>
                <a:gd name="connsiteX532" fmla="*/ 916329 w 1298190"/>
                <a:gd name="connsiteY532" fmla="*/ 1834508 h 3657590"/>
                <a:gd name="connsiteX533" fmla="*/ 915326 w 1298190"/>
                <a:gd name="connsiteY533" fmla="*/ 1713185 h 3657590"/>
                <a:gd name="connsiteX534" fmla="*/ 913814 w 1298190"/>
                <a:gd name="connsiteY534" fmla="*/ 1711432 h 3657590"/>
                <a:gd name="connsiteX535" fmla="*/ 819288 w 1298190"/>
                <a:gd name="connsiteY535" fmla="*/ 1652085 h 3657590"/>
                <a:gd name="connsiteX536" fmla="*/ 799121 w 1298190"/>
                <a:gd name="connsiteY536" fmla="*/ 1657267 h 3657590"/>
                <a:gd name="connsiteX537" fmla="*/ 792847 w 1298190"/>
                <a:gd name="connsiteY537" fmla="*/ 1661788 h 3657590"/>
                <a:gd name="connsiteX538" fmla="*/ 789608 w 1298190"/>
                <a:gd name="connsiteY538" fmla="*/ 1664976 h 3657590"/>
                <a:gd name="connsiteX539" fmla="*/ 786586 w 1298190"/>
                <a:gd name="connsiteY539" fmla="*/ 1668659 h 3657590"/>
                <a:gd name="connsiteX540" fmla="*/ 784135 w 1298190"/>
                <a:gd name="connsiteY540" fmla="*/ 1672253 h 3657590"/>
                <a:gd name="connsiteX541" fmla="*/ 782103 w 1298190"/>
                <a:gd name="connsiteY541" fmla="*/ 1675809 h 3657590"/>
                <a:gd name="connsiteX542" fmla="*/ 780388 w 1298190"/>
                <a:gd name="connsiteY542" fmla="*/ 1679314 h 3657590"/>
                <a:gd name="connsiteX543" fmla="*/ 778915 w 1298190"/>
                <a:gd name="connsiteY543" fmla="*/ 1682781 h 3657590"/>
                <a:gd name="connsiteX544" fmla="*/ 777658 w 1298190"/>
                <a:gd name="connsiteY544" fmla="*/ 1686210 h 3657590"/>
                <a:gd name="connsiteX545" fmla="*/ 776566 w 1298190"/>
                <a:gd name="connsiteY545" fmla="*/ 1689601 h 3657590"/>
                <a:gd name="connsiteX546" fmla="*/ 775626 w 1298190"/>
                <a:gd name="connsiteY546" fmla="*/ 1692966 h 3657590"/>
                <a:gd name="connsiteX547" fmla="*/ 774813 w 1298190"/>
                <a:gd name="connsiteY547" fmla="*/ 1696294 h 3657590"/>
                <a:gd name="connsiteX548" fmla="*/ 774127 w 1298190"/>
                <a:gd name="connsiteY548" fmla="*/ 1699583 h 3657590"/>
                <a:gd name="connsiteX549" fmla="*/ 773530 w 1298190"/>
                <a:gd name="connsiteY549" fmla="*/ 1702860 h 3657590"/>
                <a:gd name="connsiteX550" fmla="*/ 773022 w 1298190"/>
                <a:gd name="connsiteY550" fmla="*/ 1706086 h 3657590"/>
                <a:gd name="connsiteX551" fmla="*/ 772603 w 1298190"/>
                <a:gd name="connsiteY551" fmla="*/ 1709286 h 3657590"/>
                <a:gd name="connsiteX552" fmla="*/ 772248 w 1298190"/>
                <a:gd name="connsiteY552" fmla="*/ 1712448 h 3657590"/>
                <a:gd name="connsiteX553" fmla="*/ 771968 w 1298190"/>
                <a:gd name="connsiteY553" fmla="*/ 1715572 h 3657590"/>
                <a:gd name="connsiteX554" fmla="*/ 771752 w 1298190"/>
                <a:gd name="connsiteY554" fmla="*/ 1718671 h 3657590"/>
                <a:gd name="connsiteX555" fmla="*/ 771600 w 1298190"/>
                <a:gd name="connsiteY555" fmla="*/ 1721732 h 3657590"/>
                <a:gd name="connsiteX556" fmla="*/ 771486 w 1298190"/>
                <a:gd name="connsiteY556" fmla="*/ 1724755 h 3657590"/>
                <a:gd name="connsiteX557" fmla="*/ 771435 w 1298190"/>
                <a:gd name="connsiteY557" fmla="*/ 1727752 h 3657590"/>
                <a:gd name="connsiteX558" fmla="*/ 771422 w 1298190"/>
                <a:gd name="connsiteY558" fmla="*/ 1730711 h 3657590"/>
                <a:gd name="connsiteX559" fmla="*/ 771448 w 1298190"/>
                <a:gd name="connsiteY559" fmla="*/ 1733632 h 3657590"/>
                <a:gd name="connsiteX560" fmla="*/ 771524 w 1298190"/>
                <a:gd name="connsiteY560" fmla="*/ 1736515 h 3657590"/>
                <a:gd name="connsiteX561" fmla="*/ 771625 w 1298190"/>
                <a:gd name="connsiteY561" fmla="*/ 1739359 h 3657590"/>
                <a:gd name="connsiteX562" fmla="*/ 771765 w 1298190"/>
                <a:gd name="connsiteY562" fmla="*/ 1742179 h 3657590"/>
                <a:gd name="connsiteX563" fmla="*/ 771943 w 1298190"/>
                <a:gd name="connsiteY563" fmla="*/ 1744947 h 3657590"/>
                <a:gd name="connsiteX564" fmla="*/ 772146 w 1298190"/>
                <a:gd name="connsiteY564" fmla="*/ 1747691 h 3657590"/>
                <a:gd name="connsiteX565" fmla="*/ 772387 w 1298190"/>
                <a:gd name="connsiteY565" fmla="*/ 1750383 h 3657590"/>
                <a:gd name="connsiteX566" fmla="*/ 772641 w 1298190"/>
                <a:gd name="connsiteY566" fmla="*/ 1753050 h 3657590"/>
                <a:gd name="connsiteX567" fmla="*/ 772933 w 1298190"/>
                <a:gd name="connsiteY567" fmla="*/ 1755666 h 3657590"/>
                <a:gd name="connsiteX568" fmla="*/ 773251 w 1298190"/>
                <a:gd name="connsiteY568" fmla="*/ 1758244 h 3657590"/>
                <a:gd name="connsiteX569" fmla="*/ 773581 w 1298190"/>
                <a:gd name="connsiteY569" fmla="*/ 1760797 h 3657590"/>
                <a:gd name="connsiteX570" fmla="*/ 773949 w 1298190"/>
                <a:gd name="connsiteY570" fmla="*/ 1763299 h 3657590"/>
                <a:gd name="connsiteX571" fmla="*/ 774330 w 1298190"/>
                <a:gd name="connsiteY571" fmla="*/ 1765763 h 3657590"/>
                <a:gd name="connsiteX572" fmla="*/ 774724 w 1298190"/>
                <a:gd name="connsiteY572" fmla="*/ 1768176 h 3657590"/>
                <a:gd name="connsiteX573" fmla="*/ 775143 w 1298190"/>
                <a:gd name="connsiteY573" fmla="*/ 1770551 h 3657590"/>
                <a:gd name="connsiteX574" fmla="*/ 775588 w 1298190"/>
                <a:gd name="connsiteY574" fmla="*/ 1772900 h 3657590"/>
                <a:gd name="connsiteX575" fmla="*/ 776045 w 1298190"/>
                <a:gd name="connsiteY575" fmla="*/ 1775186 h 3657590"/>
                <a:gd name="connsiteX576" fmla="*/ 629729 w 1298190"/>
                <a:gd name="connsiteY576" fmla="*/ 1805818 h 3657590"/>
                <a:gd name="connsiteX577" fmla="*/ 558583 w 1298190"/>
                <a:gd name="connsiteY577" fmla="*/ 1707165 h 3657590"/>
                <a:gd name="connsiteX578" fmla="*/ 522833 w 1298190"/>
                <a:gd name="connsiteY578" fmla="*/ 1723954 h 3657590"/>
                <a:gd name="connsiteX579" fmla="*/ 521919 w 1298190"/>
                <a:gd name="connsiteY579" fmla="*/ 1724818 h 3657590"/>
                <a:gd name="connsiteX580" fmla="*/ 518236 w 1298190"/>
                <a:gd name="connsiteY580" fmla="*/ 1728590 h 3657590"/>
                <a:gd name="connsiteX581" fmla="*/ 514819 w 1298190"/>
                <a:gd name="connsiteY581" fmla="*/ 1732425 h 3657590"/>
                <a:gd name="connsiteX582" fmla="*/ 511644 w 1298190"/>
                <a:gd name="connsiteY582" fmla="*/ 1736312 h 3657590"/>
                <a:gd name="connsiteX583" fmla="*/ 508660 w 1298190"/>
                <a:gd name="connsiteY583" fmla="*/ 1740236 h 3657590"/>
                <a:gd name="connsiteX584" fmla="*/ 505853 w 1298190"/>
                <a:gd name="connsiteY584" fmla="*/ 1744211 h 3657590"/>
                <a:gd name="connsiteX585" fmla="*/ 503186 w 1298190"/>
                <a:gd name="connsiteY585" fmla="*/ 1748211 h 3657590"/>
                <a:gd name="connsiteX586" fmla="*/ 500659 w 1298190"/>
                <a:gd name="connsiteY586" fmla="*/ 1752237 h 3657590"/>
                <a:gd name="connsiteX587" fmla="*/ 498246 w 1298190"/>
                <a:gd name="connsiteY587" fmla="*/ 1756301 h 3657590"/>
                <a:gd name="connsiteX588" fmla="*/ 495960 w 1298190"/>
                <a:gd name="connsiteY588" fmla="*/ 1760365 h 3657590"/>
                <a:gd name="connsiteX589" fmla="*/ 493775 w 1298190"/>
                <a:gd name="connsiteY589" fmla="*/ 1764467 h 3657590"/>
                <a:gd name="connsiteX590" fmla="*/ 491693 w 1298190"/>
                <a:gd name="connsiteY590" fmla="*/ 1768569 h 3657590"/>
                <a:gd name="connsiteX591" fmla="*/ 489699 w 1298190"/>
                <a:gd name="connsiteY591" fmla="*/ 1772710 h 3657590"/>
                <a:gd name="connsiteX592" fmla="*/ 487819 w 1298190"/>
                <a:gd name="connsiteY592" fmla="*/ 1776837 h 3657590"/>
                <a:gd name="connsiteX593" fmla="*/ 486016 w 1298190"/>
                <a:gd name="connsiteY593" fmla="*/ 1780990 h 3657590"/>
                <a:gd name="connsiteX594" fmla="*/ 484301 w 1298190"/>
                <a:gd name="connsiteY594" fmla="*/ 1785156 h 3657590"/>
                <a:gd name="connsiteX595" fmla="*/ 482676 w 1298190"/>
                <a:gd name="connsiteY595" fmla="*/ 1789321 h 3657590"/>
                <a:gd name="connsiteX596" fmla="*/ 481152 w 1298190"/>
                <a:gd name="connsiteY596" fmla="*/ 1793512 h 3657590"/>
                <a:gd name="connsiteX597" fmla="*/ 479704 w 1298190"/>
                <a:gd name="connsiteY597" fmla="*/ 1797703 h 3657590"/>
                <a:gd name="connsiteX598" fmla="*/ 337578 w 1298190"/>
                <a:gd name="connsiteY598" fmla="*/ 1751221 h 3657590"/>
                <a:gd name="connsiteX599" fmla="*/ 325348 w 1298190"/>
                <a:gd name="connsiteY599" fmla="*/ 1630114 h 3657590"/>
                <a:gd name="connsiteX600" fmla="*/ 303085 w 1298190"/>
                <a:gd name="connsiteY600" fmla="*/ 1624603 h 3657590"/>
                <a:gd name="connsiteX601" fmla="*/ 211836 w 1298190"/>
                <a:gd name="connsiteY601" fmla="*/ 1668989 h 3657590"/>
                <a:gd name="connsiteX602" fmla="*/ 112014 w 1298190"/>
                <a:gd name="connsiteY602" fmla="*/ 1557763 h 3657590"/>
                <a:gd name="connsiteX603" fmla="*/ 115888 w 1298190"/>
                <a:gd name="connsiteY603" fmla="*/ 1554169 h 3657590"/>
                <a:gd name="connsiteX604" fmla="*/ 119685 w 1298190"/>
                <a:gd name="connsiteY604" fmla="*/ 1550473 h 3657590"/>
                <a:gd name="connsiteX605" fmla="*/ 122263 w 1298190"/>
                <a:gd name="connsiteY605" fmla="*/ 1547895 h 3657590"/>
                <a:gd name="connsiteX606" fmla="*/ 161862 w 1298190"/>
                <a:gd name="connsiteY606" fmla="*/ 1446778 h 3657590"/>
                <a:gd name="connsiteX607" fmla="*/ 89091 w 1298190"/>
                <a:gd name="connsiteY607" fmla="*/ 1419079 h 3657590"/>
                <a:gd name="connsiteX608" fmla="*/ 43993 w 1298190"/>
                <a:gd name="connsiteY608" fmla="*/ 1423714 h 3657590"/>
                <a:gd name="connsiteX609" fmla="*/ 13323 w 1298190"/>
                <a:gd name="connsiteY609" fmla="*/ 1277386 h 3657590"/>
                <a:gd name="connsiteX610" fmla="*/ 17285 w 1298190"/>
                <a:gd name="connsiteY610" fmla="*/ 1276497 h 3657590"/>
                <a:gd name="connsiteX611" fmla="*/ 21286 w 1298190"/>
                <a:gd name="connsiteY611" fmla="*/ 1275531 h 3657590"/>
                <a:gd name="connsiteX612" fmla="*/ 25274 w 1298190"/>
                <a:gd name="connsiteY612" fmla="*/ 1274490 h 3657590"/>
                <a:gd name="connsiteX613" fmla="*/ 29274 w 1298190"/>
                <a:gd name="connsiteY613" fmla="*/ 1273372 h 3657590"/>
                <a:gd name="connsiteX614" fmla="*/ 33275 w 1298190"/>
                <a:gd name="connsiteY614" fmla="*/ 1272191 h 3657590"/>
                <a:gd name="connsiteX615" fmla="*/ 37275 w 1298190"/>
                <a:gd name="connsiteY615" fmla="*/ 1270934 h 3657590"/>
                <a:gd name="connsiteX616" fmla="*/ 41288 w 1298190"/>
                <a:gd name="connsiteY616" fmla="*/ 1269598 h 3657590"/>
                <a:gd name="connsiteX617" fmla="*/ 45301 w 1298190"/>
                <a:gd name="connsiteY617" fmla="*/ 1268179 h 3657590"/>
                <a:gd name="connsiteX618" fmla="*/ 49315 w 1298190"/>
                <a:gd name="connsiteY618" fmla="*/ 1266682 h 3657590"/>
                <a:gd name="connsiteX619" fmla="*/ 53328 w 1298190"/>
                <a:gd name="connsiteY619" fmla="*/ 1265103 h 3657590"/>
                <a:gd name="connsiteX620" fmla="*/ 57328 w 1298190"/>
                <a:gd name="connsiteY620" fmla="*/ 1263427 h 3657590"/>
                <a:gd name="connsiteX621" fmla="*/ 61329 w 1298190"/>
                <a:gd name="connsiteY621" fmla="*/ 1261652 h 3657590"/>
                <a:gd name="connsiteX622" fmla="*/ 65329 w 1298190"/>
                <a:gd name="connsiteY622" fmla="*/ 1259755 h 3657590"/>
                <a:gd name="connsiteX623" fmla="*/ 69304 w 1298190"/>
                <a:gd name="connsiteY623" fmla="*/ 1257767 h 3657590"/>
                <a:gd name="connsiteX624" fmla="*/ 73280 w 1298190"/>
                <a:gd name="connsiteY624" fmla="*/ 1255628 h 3657590"/>
                <a:gd name="connsiteX625" fmla="*/ 77229 w 1298190"/>
                <a:gd name="connsiteY625" fmla="*/ 1253356 h 3657590"/>
                <a:gd name="connsiteX626" fmla="*/ 81179 w 1298190"/>
                <a:gd name="connsiteY626" fmla="*/ 1250906 h 3657590"/>
                <a:gd name="connsiteX627" fmla="*/ 85090 w 1298190"/>
                <a:gd name="connsiteY627" fmla="*/ 1248252 h 3657590"/>
                <a:gd name="connsiteX628" fmla="*/ 88964 w 1298190"/>
                <a:gd name="connsiteY628" fmla="*/ 1245394 h 3657590"/>
                <a:gd name="connsiteX629" fmla="*/ 92812 w 1298190"/>
                <a:gd name="connsiteY629" fmla="*/ 1242235 h 3657590"/>
                <a:gd name="connsiteX630" fmla="*/ 96597 w 1298190"/>
                <a:gd name="connsiteY630" fmla="*/ 1238742 h 3657590"/>
                <a:gd name="connsiteX631" fmla="*/ 98781 w 1298190"/>
                <a:gd name="connsiteY631" fmla="*/ 1236479 h 3657590"/>
                <a:gd name="connsiteX632" fmla="*/ 111938 w 1298190"/>
                <a:gd name="connsiteY632" fmla="*/ 1206277 h 3657590"/>
                <a:gd name="connsiteX633" fmla="*/ 21425 w 1298190"/>
                <a:gd name="connsiteY633" fmla="*/ 1127358 h 3657590"/>
                <a:gd name="connsiteX634" fmla="*/ 67920 w 1298190"/>
                <a:gd name="connsiteY634" fmla="*/ 985274 h 3657590"/>
                <a:gd name="connsiteX635" fmla="*/ 69635 w 1298190"/>
                <a:gd name="connsiteY635" fmla="*/ 985818 h 3657590"/>
                <a:gd name="connsiteX636" fmla="*/ 71387 w 1298190"/>
                <a:gd name="connsiteY636" fmla="*/ 986364 h 3657590"/>
                <a:gd name="connsiteX637" fmla="*/ 73178 w 1298190"/>
                <a:gd name="connsiteY637" fmla="*/ 986911 h 3657590"/>
                <a:gd name="connsiteX638" fmla="*/ 75032 w 1298190"/>
                <a:gd name="connsiteY638" fmla="*/ 987445 h 3657590"/>
                <a:gd name="connsiteX639" fmla="*/ 76912 w 1298190"/>
                <a:gd name="connsiteY639" fmla="*/ 987976 h 3657590"/>
                <a:gd name="connsiteX640" fmla="*/ 78842 w 1298190"/>
                <a:gd name="connsiteY640" fmla="*/ 988512 h 3657590"/>
                <a:gd name="connsiteX641" fmla="*/ 80823 w 1298190"/>
                <a:gd name="connsiteY641" fmla="*/ 989033 h 3657590"/>
                <a:gd name="connsiteX642" fmla="*/ 82830 w 1298190"/>
                <a:gd name="connsiteY642" fmla="*/ 989555 h 3657590"/>
                <a:gd name="connsiteX643" fmla="*/ 84887 w 1298190"/>
                <a:gd name="connsiteY643" fmla="*/ 990060 h 3657590"/>
                <a:gd name="connsiteX644" fmla="*/ 86995 w 1298190"/>
                <a:gd name="connsiteY644" fmla="*/ 990571 h 3657590"/>
                <a:gd name="connsiteX645" fmla="*/ 89142 w 1298190"/>
                <a:gd name="connsiteY645" fmla="*/ 991067 h 3657590"/>
                <a:gd name="connsiteX646" fmla="*/ 91326 w 1298190"/>
                <a:gd name="connsiteY646" fmla="*/ 991549 h 3657590"/>
                <a:gd name="connsiteX647" fmla="*/ 93561 w 1298190"/>
                <a:gd name="connsiteY647" fmla="*/ 992020 h 3657590"/>
                <a:gd name="connsiteX648" fmla="*/ 95822 w 1298190"/>
                <a:gd name="connsiteY648" fmla="*/ 992476 h 3657590"/>
                <a:gd name="connsiteX649" fmla="*/ 98133 w 1298190"/>
                <a:gd name="connsiteY649" fmla="*/ 992918 h 3657590"/>
                <a:gd name="connsiteX650" fmla="*/ 100495 w 1298190"/>
                <a:gd name="connsiteY650" fmla="*/ 993349 h 3657590"/>
                <a:gd name="connsiteX651" fmla="*/ 102896 w 1298190"/>
                <a:gd name="connsiteY651" fmla="*/ 993756 h 3657590"/>
                <a:gd name="connsiteX652" fmla="*/ 105334 w 1298190"/>
                <a:gd name="connsiteY652" fmla="*/ 994153 h 3657590"/>
                <a:gd name="connsiteX653" fmla="*/ 107811 w 1298190"/>
                <a:gd name="connsiteY653" fmla="*/ 994520 h 3657590"/>
                <a:gd name="connsiteX654" fmla="*/ 110325 w 1298190"/>
                <a:gd name="connsiteY654" fmla="*/ 994862 h 3657590"/>
                <a:gd name="connsiteX655" fmla="*/ 112891 w 1298190"/>
                <a:gd name="connsiteY655" fmla="*/ 995179 h 3657590"/>
                <a:gd name="connsiteX656" fmla="*/ 115494 w 1298190"/>
                <a:gd name="connsiteY656" fmla="*/ 995473 h 3657590"/>
                <a:gd name="connsiteX657" fmla="*/ 118136 w 1298190"/>
                <a:gd name="connsiteY657" fmla="*/ 995741 h 3657590"/>
                <a:gd name="connsiteX658" fmla="*/ 120828 w 1298190"/>
                <a:gd name="connsiteY658" fmla="*/ 995968 h 3657590"/>
                <a:gd name="connsiteX659" fmla="*/ 123546 w 1298190"/>
                <a:gd name="connsiteY659" fmla="*/ 996147 h 3657590"/>
                <a:gd name="connsiteX660" fmla="*/ 126315 w 1298190"/>
                <a:gd name="connsiteY660" fmla="*/ 996296 h 3657590"/>
                <a:gd name="connsiteX661" fmla="*/ 129121 w 1298190"/>
                <a:gd name="connsiteY661" fmla="*/ 996400 h 3657590"/>
                <a:gd name="connsiteX662" fmla="*/ 131953 w 1298190"/>
                <a:gd name="connsiteY662" fmla="*/ 996449 h 3657590"/>
                <a:gd name="connsiteX663" fmla="*/ 133223 w 1298190"/>
                <a:gd name="connsiteY663" fmla="*/ 996449 h 3657590"/>
                <a:gd name="connsiteX664" fmla="*/ 134849 w 1298190"/>
                <a:gd name="connsiteY664" fmla="*/ 996449 h 3657590"/>
                <a:gd name="connsiteX665" fmla="*/ 137770 w 1298190"/>
                <a:gd name="connsiteY665" fmla="*/ 996386 h 3657590"/>
                <a:gd name="connsiteX666" fmla="*/ 140742 w 1298190"/>
                <a:gd name="connsiteY666" fmla="*/ 996246 h 3657590"/>
                <a:gd name="connsiteX667" fmla="*/ 143752 w 1298190"/>
                <a:gd name="connsiteY667" fmla="*/ 996043 h 3657590"/>
                <a:gd name="connsiteX668" fmla="*/ 146787 w 1298190"/>
                <a:gd name="connsiteY668" fmla="*/ 995751 h 3657590"/>
                <a:gd name="connsiteX669" fmla="*/ 149873 w 1298190"/>
                <a:gd name="connsiteY669" fmla="*/ 995359 h 3657590"/>
                <a:gd name="connsiteX670" fmla="*/ 152997 w 1298190"/>
                <a:gd name="connsiteY670" fmla="*/ 994862 h 3657590"/>
                <a:gd name="connsiteX671" fmla="*/ 159804 w 1298190"/>
                <a:gd name="connsiteY671" fmla="*/ 993373 h 3657590"/>
                <a:gd name="connsiteX672" fmla="*/ 167221 w 1298190"/>
                <a:gd name="connsiteY672" fmla="*/ 990938 h 3657590"/>
                <a:gd name="connsiteX673" fmla="*/ 173317 w 1298190"/>
                <a:gd name="connsiteY673" fmla="*/ 988066 h 3657590"/>
                <a:gd name="connsiteX674" fmla="*/ 178384 w 1298190"/>
                <a:gd name="connsiteY674" fmla="*/ 984816 h 3657590"/>
                <a:gd name="connsiteX675" fmla="*/ 182588 w 1298190"/>
                <a:gd name="connsiteY675" fmla="*/ 981250 h 3657590"/>
                <a:gd name="connsiteX676" fmla="*/ 184709 w 1298190"/>
                <a:gd name="connsiteY676" fmla="*/ 978997 h 3657590"/>
                <a:gd name="connsiteX677" fmla="*/ 188989 w 1298190"/>
                <a:gd name="connsiteY677" fmla="*/ 973004 h 3657590"/>
                <a:gd name="connsiteX678" fmla="*/ 150114 w 1298190"/>
                <a:gd name="connsiteY678" fmla="*/ 859493 h 3657590"/>
                <a:gd name="connsiteX679" fmla="*/ 181471 w 1298190"/>
                <a:gd name="connsiteY679" fmla="*/ 825799 h 3657590"/>
                <a:gd name="connsiteX680" fmla="*/ 183477 w 1298190"/>
                <a:gd name="connsiteY680" fmla="*/ 823820 h 3657590"/>
                <a:gd name="connsiteX681" fmla="*/ 185496 w 1298190"/>
                <a:gd name="connsiteY681" fmla="*/ 821850 h 3657590"/>
                <a:gd name="connsiteX682" fmla="*/ 187338 w 1298190"/>
                <a:gd name="connsiteY682" fmla="*/ 820060 h 3657590"/>
                <a:gd name="connsiteX683" fmla="*/ 189319 w 1298190"/>
                <a:gd name="connsiteY683" fmla="*/ 818169 h 3657590"/>
                <a:gd name="connsiteX684" fmla="*/ 191186 w 1298190"/>
                <a:gd name="connsiteY684" fmla="*/ 816378 h 3657590"/>
                <a:gd name="connsiteX685" fmla="*/ 193129 w 1298190"/>
                <a:gd name="connsiteY685" fmla="*/ 814563 h 3657590"/>
                <a:gd name="connsiteX686" fmla="*/ 195110 w 1298190"/>
                <a:gd name="connsiteY686" fmla="*/ 812708 h 3657590"/>
                <a:gd name="connsiteX687" fmla="*/ 197028 w 1298190"/>
                <a:gd name="connsiteY687" fmla="*/ 810926 h 3657590"/>
                <a:gd name="connsiteX688" fmla="*/ 199022 w 1298190"/>
                <a:gd name="connsiteY688" fmla="*/ 809101 h 3657590"/>
                <a:gd name="connsiteX689" fmla="*/ 200952 w 1298190"/>
                <a:gd name="connsiteY689" fmla="*/ 807349 h 3657590"/>
                <a:gd name="connsiteX690" fmla="*/ 202934 w 1298190"/>
                <a:gd name="connsiteY690" fmla="*/ 805569 h 3657590"/>
                <a:gd name="connsiteX691" fmla="*/ 204953 w 1298190"/>
                <a:gd name="connsiteY691" fmla="*/ 803777 h 3657590"/>
                <a:gd name="connsiteX692" fmla="*/ 206921 w 1298190"/>
                <a:gd name="connsiteY692" fmla="*/ 802036 h 3657590"/>
                <a:gd name="connsiteX693" fmla="*/ 208953 w 1298190"/>
                <a:gd name="connsiteY693" fmla="*/ 800260 h 3657590"/>
                <a:gd name="connsiteX694" fmla="*/ 210934 w 1298190"/>
                <a:gd name="connsiteY694" fmla="*/ 798543 h 3657590"/>
                <a:gd name="connsiteX695" fmla="*/ 214071 w 1298190"/>
                <a:gd name="connsiteY695" fmla="*/ 795855 h 3657590"/>
                <a:gd name="connsiteX696" fmla="*/ 218123 w 1298190"/>
                <a:gd name="connsiteY696" fmla="*/ 792437 h 3657590"/>
                <a:gd name="connsiteX697" fmla="*/ 222199 w 1298190"/>
                <a:gd name="connsiteY697" fmla="*/ 789073 h 3657590"/>
                <a:gd name="connsiteX698" fmla="*/ 226327 w 1298190"/>
                <a:gd name="connsiteY698" fmla="*/ 785729 h 3657590"/>
                <a:gd name="connsiteX699" fmla="*/ 230467 w 1298190"/>
                <a:gd name="connsiteY699" fmla="*/ 782431 h 3657590"/>
                <a:gd name="connsiteX700" fmla="*/ 234645 w 1298190"/>
                <a:gd name="connsiteY700" fmla="*/ 779166 h 3657590"/>
                <a:gd name="connsiteX701" fmla="*/ 238862 w 1298190"/>
                <a:gd name="connsiteY701" fmla="*/ 775941 h 3657590"/>
                <a:gd name="connsiteX702" fmla="*/ 243091 w 1298190"/>
                <a:gd name="connsiteY702" fmla="*/ 772752 h 3657590"/>
                <a:gd name="connsiteX703" fmla="*/ 247358 w 1298190"/>
                <a:gd name="connsiteY703" fmla="*/ 769601 h 3657590"/>
                <a:gd name="connsiteX704" fmla="*/ 251651 w 1298190"/>
                <a:gd name="connsiteY704" fmla="*/ 766506 h 3657590"/>
                <a:gd name="connsiteX705" fmla="*/ 255981 w 1298190"/>
                <a:gd name="connsiteY705" fmla="*/ 763430 h 3657590"/>
                <a:gd name="connsiteX706" fmla="*/ 260337 w 1298190"/>
                <a:gd name="connsiteY706" fmla="*/ 760394 h 3657590"/>
                <a:gd name="connsiteX707" fmla="*/ 261379 w 1298190"/>
                <a:gd name="connsiteY707" fmla="*/ 759685 h 3657590"/>
                <a:gd name="connsiteX708" fmla="*/ 279514 w 1298190"/>
                <a:gd name="connsiteY708" fmla="*/ 777668 h 3657590"/>
                <a:gd name="connsiteX709" fmla="*/ 291541 w 1298190"/>
                <a:gd name="connsiteY709" fmla="*/ 787738 h 3657590"/>
                <a:gd name="connsiteX710" fmla="*/ 300520 w 1298190"/>
                <a:gd name="connsiteY710" fmla="*/ 794382 h 3657590"/>
                <a:gd name="connsiteX711" fmla="*/ 307950 w 1298190"/>
                <a:gd name="connsiteY711" fmla="*/ 799282 h 3657590"/>
                <a:gd name="connsiteX712" fmla="*/ 314325 w 1298190"/>
                <a:gd name="connsiteY712" fmla="*/ 803043 h 3657590"/>
                <a:gd name="connsiteX713" fmla="*/ 319926 w 1298190"/>
                <a:gd name="connsiteY713" fmla="*/ 805975 h 3657590"/>
                <a:gd name="connsiteX714" fmla="*/ 324891 w 1298190"/>
                <a:gd name="connsiteY714" fmla="*/ 808287 h 3657590"/>
                <a:gd name="connsiteX715" fmla="*/ 329362 w 1298190"/>
                <a:gd name="connsiteY715" fmla="*/ 810093 h 3657590"/>
                <a:gd name="connsiteX716" fmla="*/ 333362 w 1298190"/>
                <a:gd name="connsiteY716" fmla="*/ 811487 h 3657590"/>
                <a:gd name="connsiteX717" fmla="*/ 336931 w 1298190"/>
                <a:gd name="connsiteY717" fmla="*/ 812544 h 3657590"/>
                <a:gd name="connsiteX718" fmla="*/ 340118 w 1298190"/>
                <a:gd name="connsiteY718" fmla="*/ 813327 h 3657590"/>
                <a:gd name="connsiteX719" fmla="*/ 342887 w 1298190"/>
                <a:gd name="connsiteY719" fmla="*/ 813873 h 3657590"/>
                <a:gd name="connsiteX720" fmla="*/ 345237 w 1298190"/>
                <a:gd name="connsiteY720" fmla="*/ 814230 h 3657590"/>
                <a:gd name="connsiteX721" fmla="*/ 347129 w 1298190"/>
                <a:gd name="connsiteY721" fmla="*/ 814459 h 3657590"/>
                <a:gd name="connsiteX722" fmla="*/ 348488 w 1298190"/>
                <a:gd name="connsiteY722" fmla="*/ 814572 h 3657590"/>
                <a:gd name="connsiteX723" fmla="*/ 349174 w 1298190"/>
                <a:gd name="connsiteY723" fmla="*/ 814621 h 3657590"/>
                <a:gd name="connsiteX724" fmla="*/ 352184 w 1298190"/>
                <a:gd name="connsiteY724" fmla="*/ 814712 h 3657590"/>
                <a:gd name="connsiteX725" fmla="*/ 372326 w 1298190"/>
                <a:gd name="connsiteY725" fmla="*/ 809533 h 3657590"/>
                <a:gd name="connsiteX726" fmla="*/ 382333 w 1298190"/>
                <a:gd name="connsiteY726" fmla="*/ 801278 h 3657590"/>
                <a:gd name="connsiteX727" fmla="*/ 395402 w 1298190"/>
                <a:gd name="connsiteY727" fmla="*/ 691650 h 3657590"/>
                <a:gd name="connsiteX728" fmla="*/ 399605 w 1298190"/>
                <a:gd name="connsiteY728" fmla="*/ 690192 h 3657590"/>
                <a:gd name="connsiteX729" fmla="*/ 403809 w 1298190"/>
                <a:gd name="connsiteY729" fmla="*/ 688769 h 3657590"/>
                <a:gd name="connsiteX730" fmla="*/ 407987 w 1298190"/>
                <a:gd name="connsiteY730" fmla="*/ 687384 h 3657590"/>
                <a:gd name="connsiteX731" fmla="*/ 412127 w 1298190"/>
                <a:gd name="connsiteY731" fmla="*/ 686050 h 3657590"/>
                <a:gd name="connsiteX732" fmla="*/ 416267 w 1298190"/>
                <a:gd name="connsiteY732" fmla="*/ 684755 h 3657590"/>
                <a:gd name="connsiteX733" fmla="*/ 420382 w 1298190"/>
                <a:gd name="connsiteY733" fmla="*/ 683510 h 3657590"/>
                <a:gd name="connsiteX734" fmla="*/ 424472 w 1298190"/>
                <a:gd name="connsiteY734" fmla="*/ 682289 h 3657590"/>
                <a:gd name="connsiteX735" fmla="*/ 428548 w 1298190"/>
                <a:gd name="connsiteY735" fmla="*/ 681123 h 3657590"/>
                <a:gd name="connsiteX736" fmla="*/ 432587 w 1298190"/>
                <a:gd name="connsiteY736" fmla="*/ 679993 h 3657590"/>
                <a:gd name="connsiteX737" fmla="*/ 436600 w 1298190"/>
                <a:gd name="connsiteY737" fmla="*/ 678887 h 3657590"/>
                <a:gd name="connsiteX738" fmla="*/ 440588 w 1298190"/>
                <a:gd name="connsiteY738" fmla="*/ 677834 h 3657590"/>
                <a:gd name="connsiteX739" fmla="*/ 444550 w 1298190"/>
                <a:gd name="connsiteY739" fmla="*/ 676818 h 3657590"/>
                <a:gd name="connsiteX740" fmla="*/ 448487 w 1298190"/>
                <a:gd name="connsiteY740" fmla="*/ 675840 h 3657590"/>
                <a:gd name="connsiteX741" fmla="*/ 452374 w 1298190"/>
                <a:gd name="connsiteY741" fmla="*/ 674898 h 3657590"/>
                <a:gd name="connsiteX742" fmla="*/ 456247 w 1298190"/>
                <a:gd name="connsiteY742" fmla="*/ 674000 h 3657590"/>
                <a:gd name="connsiteX743" fmla="*/ 460057 w 1298190"/>
                <a:gd name="connsiteY743" fmla="*/ 673121 h 3657590"/>
                <a:gd name="connsiteX744" fmla="*/ 463842 w 1298190"/>
                <a:gd name="connsiteY744" fmla="*/ 672298 h 3657590"/>
                <a:gd name="connsiteX745" fmla="*/ 467588 w 1298190"/>
                <a:gd name="connsiteY745" fmla="*/ 671494 h 3657590"/>
                <a:gd name="connsiteX746" fmla="*/ 471284 w 1298190"/>
                <a:gd name="connsiteY746" fmla="*/ 670736 h 3657590"/>
                <a:gd name="connsiteX747" fmla="*/ 474929 w 1298190"/>
                <a:gd name="connsiteY747" fmla="*/ 670011 h 3657590"/>
                <a:gd name="connsiteX748" fmla="*/ 478523 w 1298190"/>
                <a:gd name="connsiteY748" fmla="*/ 669311 h 3657590"/>
                <a:gd name="connsiteX749" fmla="*/ 482066 w 1298190"/>
                <a:gd name="connsiteY749" fmla="*/ 668662 h 3657590"/>
                <a:gd name="connsiteX750" fmla="*/ 485533 w 1298190"/>
                <a:gd name="connsiteY750" fmla="*/ 668027 h 3657590"/>
                <a:gd name="connsiteX751" fmla="*/ 488937 w 1298190"/>
                <a:gd name="connsiteY751" fmla="*/ 667447 h 3657590"/>
                <a:gd name="connsiteX752" fmla="*/ 492277 w 1298190"/>
                <a:gd name="connsiteY752" fmla="*/ 666885 h 3657590"/>
                <a:gd name="connsiteX753" fmla="*/ 495515 w 1298190"/>
                <a:gd name="connsiteY753" fmla="*/ 666365 h 3657590"/>
                <a:gd name="connsiteX754" fmla="*/ 498678 w 1298190"/>
                <a:gd name="connsiteY754" fmla="*/ 665869 h 3657590"/>
                <a:gd name="connsiteX755" fmla="*/ 501738 w 1298190"/>
                <a:gd name="connsiteY755" fmla="*/ 665412 h 3657590"/>
                <a:gd name="connsiteX756" fmla="*/ 504672 w 1298190"/>
                <a:gd name="connsiteY756" fmla="*/ 664996 h 3657590"/>
                <a:gd name="connsiteX757" fmla="*/ 507491 w 1298190"/>
                <a:gd name="connsiteY757" fmla="*/ 664599 h 3657590"/>
                <a:gd name="connsiteX758" fmla="*/ 510146 w 1298190"/>
                <a:gd name="connsiteY758" fmla="*/ 664241 h 3657590"/>
                <a:gd name="connsiteX759" fmla="*/ 512648 w 1298190"/>
                <a:gd name="connsiteY759" fmla="*/ 663924 h 3657590"/>
                <a:gd name="connsiteX760" fmla="*/ 514921 w 1298190"/>
                <a:gd name="connsiteY760" fmla="*/ 663637 h 3657590"/>
                <a:gd name="connsiteX761" fmla="*/ 516953 w 1298190"/>
                <a:gd name="connsiteY761" fmla="*/ 663393 h 3657590"/>
                <a:gd name="connsiteX762" fmla="*/ 518680 w 1298190"/>
                <a:gd name="connsiteY762" fmla="*/ 663190 h 3657590"/>
                <a:gd name="connsiteX763" fmla="*/ 519975 w 1298190"/>
                <a:gd name="connsiteY763" fmla="*/ 663036 h 3657590"/>
                <a:gd name="connsiteX764" fmla="*/ 520712 w 1298190"/>
                <a:gd name="connsiteY764" fmla="*/ 662961 h 3657590"/>
                <a:gd name="connsiteX765" fmla="*/ 541718 w 1298190"/>
                <a:gd name="connsiteY765" fmla="*/ 660982 h 3657590"/>
                <a:gd name="connsiteX766" fmla="*/ 571855 w 1298190"/>
                <a:gd name="connsiteY766" fmla="*/ 734106 h 3657590"/>
                <a:gd name="connsiteX767" fmla="*/ 572477 w 1298190"/>
                <a:gd name="connsiteY767" fmla="*/ 734970 h 3657590"/>
                <a:gd name="connsiteX768" fmla="*/ 573176 w 1298190"/>
                <a:gd name="connsiteY768" fmla="*/ 735882 h 3657590"/>
                <a:gd name="connsiteX769" fmla="*/ 573925 w 1298190"/>
                <a:gd name="connsiteY769" fmla="*/ 736849 h 3657590"/>
                <a:gd name="connsiteX770" fmla="*/ 574725 w 1298190"/>
                <a:gd name="connsiteY770" fmla="*/ 737867 h 3657590"/>
                <a:gd name="connsiteX771" fmla="*/ 575601 w 1298190"/>
                <a:gd name="connsiteY771" fmla="*/ 738944 h 3657590"/>
                <a:gd name="connsiteX772" fmla="*/ 576541 w 1298190"/>
                <a:gd name="connsiteY772" fmla="*/ 740064 h 3657590"/>
                <a:gd name="connsiteX773" fmla="*/ 577557 w 1298190"/>
                <a:gd name="connsiteY773" fmla="*/ 741230 h 3657590"/>
                <a:gd name="connsiteX774" fmla="*/ 578662 w 1298190"/>
                <a:gd name="connsiteY774" fmla="*/ 742450 h 3657590"/>
                <a:gd name="connsiteX775" fmla="*/ 579856 w 1298190"/>
                <a:gd name="connsiteY775" fmla="*/ 743706 h 3657590"/>
                <a:gd name="connsiteX776" fmla="*/ 581151 w 1298190"/>
                <a:gd name="connsiteY776" fmla="*/ 745015 h 3657590"/>
                <a:gd name="connsiteX777" fmla="*/ 582561 w 1298190"/>
                <a:gd name="connsiteY777" fmla="*/ 746359 h 3657590"/>
                <a:gd name="connsiteX778" fmla="*/ 584085 w 1298190"/>
                <a:gd name="connsiteY778" fmla="*/ 747743 h 3657590"/>
                <a:gd name="connsiteX779" fmla="*/ 585774 w 1298190"/>
                <a:gd name="connsiteY779" fmla="*/ 749167 h 3657590"/>
                <a:gd name="connsiteX780" fmla="*/ 587641 w 1298190"/>
                <a:gd name="connsiteY780" fmla="*/ 750631 h 3657590"/>
                <a:gd name="connsiteX781" fmla="*/ 589711 w 1298190"/>
                <a:gd name="connsiteY781" fmla="*/ 752115 h 3657590"/>
                <a:gd name="connsiteX782" fmla="*/ 592048 w 1298190"/>
                <a:gd name="connsiteY782" fmla="*/ 753612 h 3657590"/>
                <a:gd name="connsiteX783" fmla="*/ 594740 w 1298190"/>
                <a:gd name="connsiteY783" fmla="*/ 755111 h 3657590"/>
                <a:gd name="connsiteX784" fmla="*/ 597915 w 1298190"/>
                <a:gd name="connsiteY784" fmla="*/ 756584 h 3657590"/>
                <a:gd name="connsiteX785" fmla="*/ 601827 w 1298190"/>
                <a:gd name="connsiteY785" fmla="*/ 757994 h 3657590"/>
                <a:gd name="connsiteX786" fmla="*/ 607199 w 1298190"/>
                <a:gd name="connsiteY786" fmla="*/ 759214 h 3657590"/>
                <a:gd name="connsiteX787" fmla="*/ 612863 w 1298190"/>
                <a:gd name="connsiteY787" fmla="*/ 759636 h 3657590"/>
                <a:gd name="connsiteX788" fmla="*/ 620521 w 1298190"/>
                <a:gd name="connsiteY788" fmla="*/ 758856 h 3657590"/>
                <a:gd name="connsiteX789" fmla="*/ 621448 w 1298190"/>
                <a:gd name="connsiteY789" fmla="*/ 758668 h 3657590"/>
                <a:gd name="connsiteX790" fmla="*/ 635583 w 1298190"/>
                <a:gd name="connsiteY790" fmla="*/ 752864 h 3657590"/>
                <a:gd name="connsiteX791" fmla="*/ 641781 w 1298190"/>
                <a:gd name="connsiteY791" fmla="*/ 748672 h 3657590"/>
                <a:gd name="connsiteX792" fmla="*/ 646543 w 1298190"/>
                <a:gd name="connsiteY792" fmla="*/ 744748 h 3657590"/>
                <a:gd name="connsiteX793" fmla="*/ 650569 w 1298190"/>
                <a:gd name="connsiteY793" fmla="*/ 740953 h 3657590"/>
                <a:gd name="connsiteX794" fmla="*/ 652436 w 1298190"/>
                <a:gd name="connsiteY794" fmla="*/ 739033 h 3657590"/>
                <a:gd name="connsiteX795" fmla="*/ 693444 w 1298190"/>
                <a:gd name="connsiteY795" fmla="*/ 663661 h 3657590"/>
                <a:gd name="connsiteX796" fmla="*/ 693711 w 1298190"/>
                <a:gd name="connsiteY796" fmla="*/ 661846 h 3657590"/>
                <a:gd name="connsiteX797" fmla="*/ 693711 w 1298190"/>
                <a:gd name="connsiteY797" fmla="*/ 48 h 365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</a:cxnLst>
              <a:rect l="l" t="t" r="r" b="b"/>
              <a:pathLst>
                <a:path w="1298190" h="3657590">
                  <a:moveTo>
                    <a:pt x="693711" y="48"/>
                  </a:moveTo>
                  <a:lnTo>
                    <a:pt x="681011" y="48"/>
                  </a:lnTo>
                  <a:lnTo>
                    <a:pt x="681011" y="660902"/>
                  </a:lnTo>
                  <a:cubicBezTo>
                    <a:pt x="680592" y="662302"/>
                    <a:pt x="680147" y="663696"/>
                    <a:pt x="679690" y="665095"/>
                  </a:cubicBezTo>
                  <a:cubicBezTo>
                    <a:pt x="679170" y="666667"/>
                    <a:pt x="678636" y="668245"/>
                    <a:pt x="678077" y="669818"/>
                  </a:cubicBezTo>
                  <a:cubicBezTo>
                    <a:pt x="677531" y="671330"/>
                    <a:pt x="676972" y="672844"/>
                    <a:pt x="676401" y="674352"/>
                  </a:cubicBezTo>
                  <a:cubicBezTo>
                    <a:pt x="675855" y="675801"/>
                    <a:pt x="675283" y="677248"/>
                    <a:pt x="674699" y="678682"/>
                  </a:cubicBezTo>
                  <a:cubicBezTo>
                    <a:pt x="674128" y="680082"/>
                    <a:pt x="673556" y="681466"/>
                    <a:pt x="672959" y="682835"/>
                  </a:cubicBezTo>
                  <a:cubicBezTo>
                    <a:pt x="672388" y="684184"/>
                    <a:pt x="671791" y="685503"/>
                    <a:pt x="671194" y="686824"/>
                  </a:cubicBezTo>
                  <a:cubicBezTo>
                    <a:pt x="670610" y="688108"/>
                    <a:pt x="670013" y="689378"/>
                    <a:pt x="669403" y="690648"/>
                  </a:cubicBezTo>
                  <a:cubicBezTo>
                    <a:pt x="668819" y="691864"/>
                    <a:pt x="668222" y="693084"/>
                    <a:pt x="667613" y="694289"/>
                  </a:cubicBezTo>
                  <a:cubicBezTo>
                    <a:pt x="667016" y="695475"/>
                    <a:pt x="666406" y="696641"/>
                    <a:pt x="665797" y="697797"/>
                  </a:cubicBezTo>
                  <a:cubicBezTo>
                    <a:pt x="665200" y="698929"/>
                    <a:pt x="664590" y="700045"/>
                    <a:pt x="663980" y="701151"/>
                  </a:cubicBezTo>
                  <a:cubicBezTo>
                    <a:pt x="663371" y="702242"/>
                    <a:pt x="662761" y="703324"/>
                    <a:pt x="662152" y="704376"/>
                  </a:cubicBezTo>
                  <a:cubicBezTo>
                    <a:pt x="661542" y="705417"/>
                    <a:pt x="660932" y="706458"/>
                    <a:pt x="660310" y="707476"/>
                  </a:cubicBezTo>
                  <a:cubicBezTo>
                    <a:pt x="659700" y="708464"/>
                    <a:pt x="659091" y="709456"/>
                    <a:pt x="658469" y="710432"/>
                  </a:cubicBezTo>
                  <a:cubicBezTo>
                    <a:pt x="657859" y="711385"/>
                    <a:pt x="657237" y="712337"/>
                    <a:pt x="656614" y="713281"/>
                  </a:cubicBezTo>
                  <a:cubicBezTo>
                    <a:pt x="656005" y="714193"/>
                    <a:pt x="655383" y="715096"/>
                    <a:pt x="654760" y="715993"/>
                  </a:cubicBezTo>
                  <a:cubicBezTo>
                    <a:pt x="654151" y="716872"/>
                    <a:pt x="653528" y="717750"/>
                    <a:pt x="652906" y="718598"/>
                  </a:cubicBezTo>
                  <a:cubicBezTo>
                    <a:pt x="652284" y="719436"/>
                    <a:pt x="651661" y="720266"/>
                    <a:pt x="651039" y="721089"/>
                  </a:cubicBezTo>
                  <a:cubicBezTo>
                    <a:pt x="650417" y="721888"/>
                    <a:pt x="649795" y="722691"/>
                    <a:pt x="649172" y="723465"/>
                  </a:cubicBezTo>
                  <a:cubicBezTo>
                    <a:pt x="648550" y="724224"/>
                    <a:pt x="647928" y="724974"/>
                    <a:pt x="647305" y="725722"/>
                  </a:cubicBezTo>
                  <a:cubicBezTo>
                    <a:pt x="646683" y="726461"/>
                    <a:pt x="646061" y="727171"/>
                    <a:pt x="645426" y="727886"/>
                  </a:cubicBezTo>
                  <a:cubicBezTo>
                    <a:pt x="644804" y="728579"/>
                    <a:pt x="644169" y="729269"/>
                    <a:pt x="643533" y="729939"/>
                  </a:cubicBezTo>
                  <a:cubicBezTo>
                    <a:pt x="633653" y="740407"/>
                    <a:pt x="623061" y="746936"/>
                    <a:pt x="612863" y="746936"/>
                  </a:cubicBezTo>
                  <a:cubicBezTo>
                    <a:pt x="585380" y="746936"/>
                    <a:pt x="561555" y="698586"/>
                    <a:pt x="553097" y="653094"/>
                  </a:cubicBezTo>
                  <a:lnTo>
                    <a:pt x="552056" y="647543"/>
                  </a:lnTo>
                  <a:lnTo>
                    <a:pt x="546430" y="647910"/>
                  </a:lnTo>
                  <a:cubicBezTo>
                    <a:pt x="491477" y="651541"/>
                    <a:pt x="437438" y="662872"/>
                    <a:pt x="385826" y="681580"/>
                  </a:cubicBezTo>
                  <a:lnTo>
                    <a:pt x="384772" y="681961"/>
                  </a:lnTo>
                  <a:lnTo>
                    <a:pt x="382968" y="682607"/>
                  </a:lnTo>
                  <a:lnTo>
                    <a:pt x="380504" y="683510"/>
                  </a:lnTo>
                  <a:lnTo>
                    <a:pt x="381660" y="688402"/>
                  </a:lnTo>
                  <a:lnTo>
                    <a:pt x="381800" y="689021"/>
                  </a:lnTo>
                  <a:cubicBezTo>
                    <a:pt x="382397" y="691497"/>
                    <a:pt x="382943" y="694002"/>
                    <a:pt x="383438" y="696542"/>
                  </a:cubicBezTo>
                  <a:cubicBezTo>
                    <a:pt x="383933" y="699028"/>
                    <a:pt x="384378" y="701533"/>
                    <a:pt x="384784" y="704058"/>
                  </a:cubicBezTo>
                  <a:cubicBezTo>
                    <a:pt x="385153" y="706385"/>
                    <a:pt x="385496" y="708722"/>
                    <a:pt x="385788" y="711067"/>
                  </a:cubicBezTo>
                  <a:cubicBezTo>
                    <a:pt x="386067" y="713266"/>
                    <a:pt x="386308" y="715463"/>
                    <a:pt x="386511" y="717661"/>
                  </a:cubicBezTo>
                  <a:cubicBezTo>
                    <a:pt x="386715" y="719754"/>
                    <a:pt x="386880" y="721838"/>
                    <a:pt x="387007" y="723907"/>
                  </a:cubicBezTo>
                  <a:cubicBezTo>
                    <a:pt x="387134" y="725891"/>
                    <a:pt x="387235" y="727870"/>
                    <a:pt x="387299" y="729825"/>
                  </a:cubicBezTo>
                  <a:cubicBezTo>
                    <a:pt x="387375" y="731720"/>
                    <a:pt x="387413" y="733610"/>
                    <a:pt x="387413" y="735480"/>
                  </a:cubicBezTo>
                  <a:cubicBezTo>
                    <a:pt x="387426" y="737281"/>
                    <a:pt x="387413" y="739072"/>
                    <a:pt x="387362" y="740849"/>
                  </a:cubicBezTo>
                  <a:cubicBezTo>
                    <a:pt x="387324" y="742564"/>
                    <a:pt x="387261" y="744281"/>
                    <a:pt x="387172" y="745968"/>
                  </a:cubicBezTo>
                  <a:cubicBezTo>
                    <a:pt x="387070" y="747605"/>
                    <a:pt x="386956" y="749232"/>
                    <a:pt x="386816" y="750845"/>
                  </a:cubicBezTo>
                  <a:cubicBezTo>
                    <a:pt x="386689" y="752407"/>
                    <a:pt x="386524" y="753955"/>
                    <a:pt x="386346" y="755493"/>
                  </a:cubicBezTo>
                  <a:cubicBezTo>
                    <a:pt x="386169" y="756992"/>
                    <a:pt x="385965" y="758465"/>
                    <a:pt x="385737" y="759923"/>
                  </a:cubicBezTo>
                  <a:cubicBezTo>
                    <a:pt x="385508" y="761346"/>
                    <a:pt x="385267" y="762756"/>
                    <a:pt x="385000" y="764130"/>
                  </a:cubicBezTo>
                  <a:cubicBezTo>
                    <a:pt x="384746" y="765489"/>
                    <a:pt x="384454" y="766824"/>
                    <a:pt x="384149" y="768128"/>
                  </a:cubicBezTo>
                  <a:cubicBezTo>
                    <a:pt x="383857" y="769413"/>
                    <a:pt x="383527" y="770668"/>
                    <a:pt x="383184" y="771914"/>
                  </a:cubicBezTo>
                  <a:cubicBezTo>
                    <a:pt x="382841" y="773119"/>
                    <a:pt x="382486" y="774314"/>
                    <a:pt x="382105" y="775485"/>
                  </a:cubicBezTo>
                  <a:cubicBezTo>
                    <a:pt x="381724" y="776626"/>
                    <a:pt x="381317" y="777757"/>
                    <a:pt x="380898" y="778834"/>
                  </a:cubicBezTo>
                  <a:cubicBezTo>
                    <a:pt x="380479" y="779915"/>
                    <a:pt x="380047" y="780967"/>
                    <a:pt x="379590" y="781984"/>
                  </a:cubicBezTo>
                  <a:cubicBezTo>
                    <a:pt x="379133" y="782986"/>
                    <a:pt x="378663" y="783969"/>
                    <a:pt x="378168" y="784906"/>
                  </a:cubicBezTo>
                  <a:cubicBezTo>
                    <a:pt x="377672" y="785833"/>
                    <a:pt x="377164" y="786736"/>
                    <a:pt x="376631" y="787600"/>
                  </a:cubicBezTo>
                  <a:cubicBezTo>
                    <a:pt x="376110" y="788463"/>
                    <a:pt x="375564" y="789286"/>
                    <a:pt x="374993" y="790075"/>
                  </a:cubicBezTo>
                  <a:cubicBezTo>
                    <a:pt x="374434" y="790850"/>
                    <a:pt x="373862" y="791599"/>
                    <a:pt x="373253" y="792313"/>
                  </a:cubicBezTo>
                  <a:cubicBezTo>
                    <a:pt x="371094" y="794878"/>
                    <a:pt x="368681" y="796971"/>
                    <a:pt x="365976" y="798519"/>
                  </a:cubicBezTo>
                  <a:cubicBezTo>
                    <a:pt x="361924" y="800870"/>
                    <a:pt x="357263" y="801952"/>
                    <a:pt x="352171" y="801952"/>
                  </a:cubicBezTo>
                  <a:cubicBezTo>
                    <a:pt x="327330" y="801952"/>
                    <a:pt x="292240" y="776318"/>
                    <a:pt x="267272" y="747149"/>
                  </a:cubicBezTo>
                  <a:lnTo>
                    <a:pt x="263601" y="742867"/>
                  </a:lnTo>
                  <a:lnTo>
                    <a:pt x="258915" y="746017"/>
                  </a:lnTo>
                  <a:cubicBezTo>
                    <a:pt x="227825" y="766884"/>
                    <a:pt x="198857" y="790646"/>
                    <a:pt x="172365" y="816948"/>
                  </a:cubicBezTo>
                  <a:cubicBezTo>
                    <a:pt x="159957" y="829267"/>
                    <a:pt x="148082" y="842145"/>
                    <a:pt x="136792" y="855555"/>
                  </a:cubicBezTo>
                  <a:lnTo>
                    <a:pt x="133147" y="859875"/>
                  </a:lnTo>
                  <a:lnTo>
                    <a:pt x="137033" y="864003"/>
                  </a:lnTo>
                  <a:cubicBezTo>
                    <a:pt x="141923" y="869182"/>
                    <a:pt x="146622" y="874743"/>
                    <a:pt x="151041" y="880523"/>
                  </a:cubicBezTo>
                  <a:cubicBezTo>
                    <a:pt x="152362" y="882264"/>
                    <a:pt x="153670" y="884031"/>
                    <a:pt x="154940" y="885806"/>
                  </a:cubicBezTo>
                  <a:cubicBezTo>
                    <a:pt x="156452" y="887914"/>
                    <a:pt x="157899" y="890038"/>
                    <a:pt x="159322" y="892181"/>
                  </a:cubicBezTo>
                  <a:cubicBezTo>
                    <a:pt x="160604" y="894126"/>
                    <a:pt x="161849" y="896096"/>
                    <a:pt x="163056" y="898050"/>
                  </a:cubicBezTo>
                  <a:cubicBezTo>
                    <a:pt x="164160" y="899866"/>
                    <a:pt x="165240" y="901696"/>
                    <a:pt x="166269" y="903521"/>
                  </a:cubicBezTo>
                  <a:cubicBezTo>
                    <a:pt x="167246" y="905238"/>
                    <a:pt x="168174" y="906955"/>
                    <a:pt x="169075" y="908666"/>
                  </a:cubicBezTo>
                  <a:cubicBezTo>
                    <a:pt x="169926" y="910293"/>
                    <a:pt x="170739" y="911931"/>
                    <a:pt x="171514" y="913543"/>
                  </a:cubicBezTo>
                  <a:cubicBezTo>
                    <a:pt x="172263" y="915096"/>
                    <a:pt x="172974" y="916643"/>
                    <a:pt x="173647" y="918191"/>
                  </a:cubicBezTo>
                  <a:cubicBezTo>
                    <a:pt x="174295" y="919679"/>
                    <a:pt x="174917" y="921153"/>
                    <a:pt x="175489" y="922626"/>
                  </a:cubicBezTo>
                  <a:cubicBezTo>
                    <a:pt x="176048" y="924046"/>
                    <a:pt x="176581" y="925459"/>
                    <a:pt x="177076" y="926854"/>
                  </a:cubicBezTo>
                  <a:cubicBezTo>
                    <a:pt x="177546" y="928213"/>
                    <a:pt x="177991" y="929571"/>
                    <a:pt x="178410" y="930906"/>
                  </a:cubicBezTo>
                  <a:cubicBezTo>
                    <a:pt x="178803" y="932211"/>
                    <a:pt x="179172" y="933511"/>
                    <a:pt x="179502" y="934791"/>
                  </a:cubicBezTo>
                  <a:cubicBezTo>
                    <a:pt x="179832" y="936051"/>
                    <a:pt x="180124" y="937280"/>
                    <a:pt x="180378" y="938511"/>
                  </a:cubicBezTo>
                  <a:cubicBezTo>
                    <a:pt x="180632" y="939716"/>
                    <a:pt x="180848" y="940897"/>
                    <a:pt x="181039" y="942083"/>
                  </a:cubicBezTo>
                  <a:cubicBezTo>
                    <a:pt x="181217" y="943224"/>
                    <a:pt x="181369" y="944366"/>
                    <a:pt x="181483" y="945486"/>
                  </a:cubicBezTo>
                  <a:cubicBezTo>
                    <a:pt x="181597" y="946588"/>
                    <a:pt x="181674" y="947684"/>
                    <a:pt x="181712" y="948751"/>
                  </a:cubicBezTo>
                  <a:cubicBezTo>
                    <a:pt x="181763" y="949802"/>
                    <a:pt x="181763" y="950844"/>
                    <a:pt x="181737" y="951861"/>
                  </a:cubicBezTo>
                  <a:cubicBezTo>
                    <a:pt x="181712" y="952878"/>
                    <a:pt x="181661" y="953865"/>
                    <a:pt x="181559" y="954833"/>
                  </a:cubicBezTo>
                  <a:cubicBezTo>
                    <a:pt x="181471" y="955796"/>
                    <a:pt x="181343" y="956738"/>
                    <a:pt x="181178" y="957665"/>
                  </a:cubicBezTo>
                  <a:cubicBezTo>
                    <a:pt x="181013" y="958578"/>
                    <a:pt x="180810" y="959466"/>
                    <a:pt x="180581" y="960345"/>
                  </a:cubicBezTo>
                  <a:cubicBezTo>
                    <a:pt x="180340" y="961207"/>
                    <a:pt x="180074" y="962045"/>
                    <a:pt x="179769" y="962869"/>
                  </a:cubicBezTo>
                  <a:cubicBezTo>
                    <a:pt x="179464" y="963684"/>
                    <a:pt x="179121" y="964472"/>
                    <a:pt x="178740" y="965246"/>
                  </a:cubicBezTo>
                  <a:cubicBezTo>
                    <a:pt x="178499" y="965727"/>
                    <a:pt x="178257" y="966198"/>
                    <a:pt x="177991" y="966654"/>
                  </a:cubicBezTo>
                  <a:cubicBezTo>
                    <a:pt x="177826" y="966937"/>
                    <a:pt x="177661" y="967200"/>
                    <a:pt x="177495" y="967468"/>
                  </a:cubicBezTo>
                  <a:cubicBezTo>
                    <a:pt x="177038" y="968192"/>
                    <a:pt x="176530" y="968892"/>
                    <a:pt x="175997" y="969552"/>
                  </a:cubicBezTo>
                  <a:cubicBezTo>
                    <a:pt x="168110" y="979330"/>
                    <a:pt x="151740" y="983586"/>
                    <a:pt x="132106" y="983586"/>
                  </a:cubicBezTo>
                  <a:cubicBezTo>
                    <a:pt x="111900" y="983586"/>
                    <a:pt x="88227" y="979086"/>
                    <a:pt x="66777" y="971481"/>
                  </a:cubicBezTo>
                  <a:lnTo>
                    <a:pt x="63069" y="970172"/>
                  </a:lnTo>
                  <a:lnTo>
                    <a:pt x="61456" y="969602"/>
                  </a:lnTo>
                  <a:lnTo>
                    <a:pt x="58967" y="974672"/>
                  </a:lnTo>
                  <a:cubicBezTo>
                    <a:pt x="34646" y="1024022"/>
                    <a:pt x="17489" y="1076500"/>
                    <a:pt x="7938" y="1130637"/>
                  </a:cubicBezTo>
                  <a:lnTo>
                    <a:pt x="6948" y="1136199"/>
                  </a:lnTo>
                  <a:lnTo>
                    <a:pt x="12370" y="1137827"/>
                  </a:lnTo>
                  <a:cubicBezTo>
                    <a:pt x="41390" y="1146512"/>
                    <a:pt x="71070" y="1162730"/>
                    <a:pt x="87122" y="1180560"/>
                  </a:cubicBezTo>
                  <a:cubicBezTo>
                    <a:pt x="87910" y="1181423"/>
                    <a:pt x="88672" y="1182301"/>
                    <a:pt x="89383" y="1183188"/>
                  </a:cubicBezTo>
                  <a:cubicBezTo>
                    <a:pt x="90082" y="1184042"/>
                    <a:pt x="90755" y="1184890"/>
                    <a:pt x="91377" y="1185754"/>
                  </a:cubicBezTo>
                  <a:cubicBezTo>
                    <a:pt x="91987" y="1186582"/>
                    <a:pt x="92558" y="1187406"/>
                    <a:pt x="93104" y="1188229"/>
                  </a:cubicBezTo>
                  <a:cubicBezTo>
                    <a:pt x="93625" y="1189033"/>
                    <a:pt x="94108" y="1189817"/>
                    <a:pt x="94577" y="1190621"/>
                  </a:cubicBezTo>
                  <a:cubicBezTo>
                    <a:pt x="95022" y="1191394"/>
                    <a:pt x="95441" y="1192169"/>
                    <a:pt x="95822" y="1192942"/>
                  </a:cubicBezTo>
                  <a:cubicBezTo>
                    <a:pt x="96190" y="1193707"/>
                    <a:pt x="96546" y="1194455"/>
                    <a:pt x="96863" y="1195219"/>
                  </a:cubicBezTo>
                  <a:cubicBezTo>
                    <a:pt x="97168" y="1195953"/>
                    <a:pt x="97448" y="1196687"/>
                    <a:pt x="97701" y="1197426"/>
                  </a:cubicBezTo>
                  <a:cubicBezTo>
                    <a:pt x="97943" y="1198152"/>
                    <a:pt x="98171" y="1198876"/>
                    <a:pt x="98349" y="1199586"/>
                  </a:cubicBezTo>
                  <a:cubicBezTo>
                    <a:pt x="98540" y="1200294"/>
                    <a:pt x="98692" y="1201009"/>
                    <a:pt x="98819" y="1201708"/>
                  </a:cubicBezTo>
                  <a:cubicBezTo>
                    <a:pt x="98946" y="1202402"/>
                    <a:pt x="99048" y="1203102"/>
                    <a:pt x="99124" y="1203802"/>
                  </a:cubicBezTo>
                  <a:cubicBezTo>
                    <a:pt x="99187" y="1204486"/>
                    <a:pt x="99226" y="1205161"/>
                    <a:pt x="99238" y="1205845"/>
                  </a:cubicBezTo>
                  <a:cubicBezTo>
                    <a:pt x="99238" y="1205985"/>
                    <a:pt x="99238" y="1206139"/>
                    <a:pt x="99238" y="1206277"/>
                  </a:cubicBezTo>
                  <a:cubicBezTo>
                    <a:pt x="99238" y="1206813"/>
                    <a:pt x="99226" y="1207344"/>
                    <a:pt x="99187" y="1207880"/>
                  </a:cubicBezTo>
                  <a:cubicBezTo>
                    <a:pt x="99137" y="1208554"/>
                    <a:pt x="99060" y="1209215"/>
                    <a:pt x="98946" y="1209884"/>
                  </a:cubicBezTo>
                  <a:cubicBezTo>
                    <a:pt x="98845" y="1210543"/>
                    <a:pt x="98705" y="1211209"/>
                    <a:pt x="98540" y="1211868"/>
                  </a:cubicBezTo>
                  <a:cubicBezTo>
                    <a:pt x="98375" y="1212528"/>
                    <a:pt x="98184" y="1213187"/>
                    <a:pt x="97968" y="1213847"/>
                  </a:cubicBezTo>
                  <a:cubicBezTo>
                    <a:pt x="97752" y="1214508"/>
                    <a:pt x="97498" y="1215157"/>
                    <a:pt x="97232" y="1215802"/>
                  </a:cubicBezTo>
                  <a:cubicBezTo>
                    <a:pt x="96965" y="1216452"/>
                    <a:pt x="96660" y="1217111"/>
                    <a:pt x="96330" y="1217757"/>
                  </a:cubicBezTo>
                  <a:cubicBezTo>
                    <a:pt x="96012" y="1218407"/>
                    <a:pt x="95657" y="1219057"/>
                    <a:pt x="95276" y="1219692"/>
                  </a:cubicBezTo>
                  <a:cubicBezTo>
                    <a:pt x="94907" y="1220336"/>
                    <a:pt x="94501" y="1220971"/>
                    <a:pt x="94082" y="1221606"/>
                  </a:cubicBezTo>
                  <a:cubicBezTo>
                    <a:pt x="93650" y="1222256"/>
                    <a:pt x="93193" y="1222891"/>
                    <a:pt x="92710" y="1223526"/>
                  </a:cubicBezTo>
                  <a:cubicBezTo>
                    <a:pt x="92241" y="1224161"/>
                    <a:pt x="91745" y="1224781"/>
                    <a:pt x="91225" y="1225416"/>
                  </a:cubicBezTo>
                  <a:cubicBezTo>
                    <a:pt x="90704" y="1226042"/>
                    <a:pt x="90158" y="1226662"/>
                    <a:pt x="89586" y="1227282"/>
                  </a:cubicBezTo>
                  <a:cubicBezTo>
                    <a:pt x="73330" y="1245067"/>
                    <a:pt x="38952" y="1259810"/>
                    <a:pt x="5436" y="1266016"/>
                  </a:cubicBezTo>
                  <a:lnTo>
                    <a:pt x="3836" y="1266310"/>
                  </a:lnTo>
                  <a:lnTo>
                    <a:pt x="-126" y="1267049"/>
                  </a:lnTo>
                  <a:lnTo>
                    <a:pt x="242" y="1272686"/>
                  </a:lnTo>
                  <a:cubicBezTo>
                    <a:pt x="3899" y="1327690"/>
                    <a:pt x="15215" y="1381728"/>
                    <a:pt x="33922" y="1433290"/>
                  </a:cubicBezTo>
                  <a:lnTo>
                    <a:pt x="35840" y="1438612"/>
                  </a:lnTo>
                  <a:lnTo>
                    <a:pt x="41352" y="1437303"/>
                  </a:lnTo>
                  <a:cubicBezTo>
                    <a:pt x="56693" y="1433671"/>
                    <a:pt x="73229" y="1431703"/>
                    <a:pt x="88761" y="1431703"/>
                  </a:cubicBezTo>
                  <a:cubicBezTo>
                    <a:pt x="117183" y="1431703"/>
                    <a:pt x="142278" y="1438256"/>
                    <a:pt x="150864" y="1453128"/>
                  </a:cubicBezTo>
                  <a:cubicBezTo>
                    <a:pt x="160808" y="1470362"/>
                    <a:pt x="147854" y="1498632"/>
                    <a:pt x="126607" y="1524336"/>
                  </a:cubicBezTo>
                  <a:cubicBezTo>
                    <a:pt x="126213" y="1524819"/>
                    <a:pt x="125806" y="1525289"/>
                    <a:pt x="125400" y="1525771"/>
                  </a:cubicBezTo>
                  <a:cubicBezTo>
                    <a:pt x="125260" y="1525937"/>
                    <a:pt x="125133" y="1526102"/>
                    <a:pt x="124994" y="1526254"/>
                  </a:cubicBezTo>
                  <a:cubicBezTo>
                    <a:pt x="124422" y="1526927"/>
                    <a:pt x="123851" y="1527600"/>
                    <a:pt x="123279" y="1528261"/>
                  </a:cubicBezTo>
                  <a:cubicBezTo>
                    <a:pt x="122695" y="1528921"/>
                    <a:pt x="122124" y="1529581"/>
                    <a:pt x="121539" y="1530229"/>
                  </a:cubicBezTo>
                  <a:cubicBezTo>
                    <a:pt x="120955" y="1530902"/>
                    <a:pt x="120358" y="1531563"/>
                    <a:pt x="119749" y="1532223"/>
                  </a:cubicBezTo>
                  <a:cubicBezTo>
                    <a:pt x="119164" y="1532871"/>
                    <a:pt x="118568" y="1533506"/>
                    <a:pt x="117971" y="1534141"/>
                  </a:cubicBezTo>
                  <a:cubicBezTo>
                    <a:pt x="117361" y="1534801"/>
                    <a:pt x="116739" y="1535462"/>
                    <a:pt x="116116" y="1536109"/>
                  </a:cubicBezTo>
                  <a:cubicBezTo>
                    <a:pt x="115494" y="1536757"/>
                    <a:pt x="114872" y="1537405"/>
                    <a:pt x="114250" y="1538052"/>
                  </a:cubicBezTo>
                  <a:cubicBezTo>
                    <a:pt x="109513" y="1542891"/>
                    <a:pt x="104560" y="1547526"/>
                    <a:pt x="99492" y="1551870"/>
                  </a:cubicBezTo>
                  <a:lnTo>
                    <a:pt x="99187" y="1552124"/>
                  </a:lnTo>
                  <a:lnTo>
                    <a:pt x="95200" y="1555540"/>
                  </a:lnTo>
                  <a:lnTo>
                    <a:pt x="98349" y="1560226"/>
                  </a:lnTo>
                  <a:cubicBezTo>
                    <a:pt x="128931" y="1605794"/>
                    <a:pt x="165799" y="1646866"/>
                    <a:pt x="207899" y="1682311"/>
                  </a:cubicBezTo>
                  <a:lnTo>
                    <a:pt x="212217" y="1685956"/>
                  </a:lnTo>
                  <a:lnTo>
                    <a:pt x="216332" y="1682083"/>
                  </a:lnTo>
                  <a:cubicBezTo>
                    <a:pt x="242456" y="1657495"/>
                    <a:pt x="278168" y="1637341"/>
                    <a:pt x="303085" y="1637341"/>
                  </a:cubicBezTo>
                  <a:cubicBezTo>
                    <a:pt x="309118" y="1637341"/>
                    <a:pt x="314515" y="1638522"/>
                    <a:pt x="318998" y="1641113"/>
                  </a:cubicBezTo>
                  <a:cubicBezTo>
                    <a:pt x="342011" y="1654384"/>
                    <a:pt x="339509" y="1708092"/>
                    <a:pt x="323786" y="1752352"/>
                  </a:cubicBezTo>
                  <a:lnTo>
                    <a:pt x="321907" y="1757686"/>
                  </a:lnTo>
                  <a:lnTo>
                    <a:pt x="326974" y="1760175"/>
                  </a:lnTo>
                  <a:cubicBezTo>
                    <a:pt x="376326" y="1784483"/>
                    <a:pt x="428815" y="1801653"/>
                    <a:pt x="482968" y="1811203"/>
                  </a:cubicBezTo>
                  <a:lnTo>
                    <a:pt x="488543" y="1812181"/>
                  </a:lnTo>
                  <a:lnTo>
                    <a:pt x="489800" y="1807990"/>
                  </a:lnTo>
                  <a:lnTo>
                    <a:pt x="490169" y="1806771"/>
                  </a:lnTo>
                  <a:cubicBezTo>
                    <a:pt x="498652" y="1778425"/>
                    <a:pt x="514311" y="1749418"/>
                    <a:pt x="531647" y="1733124"/>
                  </a:cubicBezTo>
                  <a:cubicBezTo>
                    <a:pt x="532282" y="1732540"/>
                    <a:pt x="532904" y="1731968"/>
                    <a:pt x="533526" y="1731409"/>
                  </a:cubicBezTo>
                  <a:cubicBezTo>
                    <a:pt x="534149" y="1730863"/>
                    <a:pt x="534771" y="1730330"/>
                    <a:pt x="535406" y="1729822"/>
                  </a:cubicBezTo>
                  <a:cubicBezTo>
                    <a:pt x="536028" y="1729301"/>
                    <a:pt x="536663" y="1728806"/>
                    <a:pt x="537286" y="1728323"/>
                  </a:cubicBezTo>
                  <a:cubicBezTo>
                    <a:pt x="537921" y="1727853"/>
                    <a:pt x="538543" y="1727396"/>
                    <a:pt x="539178" y="1726952"/>
                  </a:cubicBezTo>
                  <a:cubicBezTo>
                    <a:pt x="539800" y="1726507"/>
                    <a:pt x="540435" y="1726088"/>
                    <a:pt x="541057" y="1725682"/>
                  </a:cubicBezTo>
                  <a:cubicBezTo>
                    <a:pt x="541692" y="1725288"/>
                    <a:pt x="542328" y="1724894"/>
                    <a:pt x="542962" y="1724539"/>
                  </a:cubicBezTo>
                  <a:cubicBezTo>
                    <a:pt x="543585" y="1724170"/>
                    <a:pt x="544220" y="1723827"/>
                    <a:pt x="544855" y="1723497"/>
                  </a:cubicBezTo>
                  <a:cubicBezTo>
                    <a:pt x="545490" y="1723180"/>
                    <a:pt x="546125" y="1722875"/>
                    <a:pt x="546760" y="1722583"/>
                  </a:cubicBezTo>
                  <a:cubicBezTo>
                    <a:pt x="547395" y="1722303"/>
                    <a:pt x="548030" y="1722037"/>
                    <a:pt x="548665" y="1721795"/>
                  </a:cubicBezTo>
                  <a:cubicBezTo>
                    <a:pt x="549300" y="1721554"/>
                    <a:pt x="549947" y="1721338"/>
                    <a:pt x="550582" y="1721135"/>
                  </a:cubicBezTo>
                  <a:cubicBezTo>
                    <a:pt x="551217" y="1720932"/>
                    <a:pt x="551865" y="1720767"/>
                    <a:pt x="552500" y="1720602"/>
                  </a:cubicBezTo>
                  <a:cubicBezTo>
                    <a:pt x="553148" y="1720449"/>
                    <a:pt x="553796" y="1720322"/>
                    <a:pt x="554443" y="1720208"/>
                  </a:cubicBezTo>
                  <a:cubicBezTo>
                    <a:pt x="555078" y="1720106"/>
                    <a:pt x="555726" y="1720017"/>
                    <a:pt x="556374" y="1719967"/>
                  </a:cubicBezTo>
                  <a:cubicBezTo>
                    <a:pt x="557021" y="1719903"/>
                    <a:pt x="557682" y="1719865"/>
                    <a:pt x="558329" y="1719865"/>
                  </a:cubicBezTo>
                  <a:cubicBezTo>
                    <a:pt x="558418" y="1719865"/>
                    <a:pt x="558507" y="1719865"/>
                    <a:pt x="558583" y="1719865"/>
                  </a:cubicBezTo>
                  <a:cubicBezTo>
                    <a:pt x="559155" y="1719865"/>
                    <a:pt x="559726" y="1719878"/>
                    <a:pt x="560298" y="1719929"/>
                  </a:cubicBezTo>
                  <a:cubicBezTo>
                    <a:pt x="560958" y="1719979"/>
                    <a:pt x="561619" y="1720056"/>
                    <a:pt x="562279" y="1720170"/>
                  </a:cubicBezTo>
                  <a:cubicBezTo>
                    <a:pt x="562952" y="1720284"/>
                    <a:pt x="563625" y="1720424"/>
                    <a:pt x="564286" y="1720589"/>
                  </a:cubicBezTo>
                  <a:cubicBezTo>
                    <a:pt x="564971" y="1720754"/>
                    <a:pt x="565645" y="1720957"/>
                    <a:pt x="566318" y="1721186"/>
                  </a:cubicBezTo>
                  <a:cubicBezTo>
                    <a:pt x="567016" y="1721427"/>
                    <a:pt x="567715" y="1721694"/>
                    <a:pt x="568400" y="1721999"/>
                  </a:cubicBezTo>
                  <a:cubicBezTo>
                    <a:pt x="569112" y="1722303"/>
                    <a:pt x="569823" y="1722634"/>
                    <a:pt x="570521" y="1723002"/>
                  </a:cubicBezTo>
                  <a:cubicBezTo>
                    <a:pt x="571258" y="1723383"/>
                    <a:pt x="571982" y="1723802"/>
                    <a:pt x="572706" y="1724247"/>
                  </a:cubicBezTo>
                  <a:cubicBezTo>
                    <a:pt x="573442" y="1724704"/>
                    <a:pt x="574179" y="1725186"/>
                    <a:pt x="574903" y="1725707"/>
                  </a:cubicBezTo>
                  <a:cubicBezTo>
                    <a:pt x="594766" y="1739817"/>
                    <a:pt x="611606" y="1777256"/>
                    <a:pt x="618349" y="1813705"/>
                  </a:cubicBezTo>
                  <a:lnTo>
                    <a:pt x="619378" y="1819255"/>
                  </a:lnTo>
                  <a:lnTo>
                    <a:pt x="625017" y="1818887"/>
                  </a:lnTo>
                  <a:cubicBezTo>
                    <a:pt x="679932" y="1815254"/>
                    <a:pt x="733957" y="1803951"/>
                    <a:pt x="785621" y="1785257"/>
                  </a:cubicBezTo>
                  <a:lnTo>
                    <a:pt x="790942" y="1783327"/>
                  </a:lnTo>
                  <a:lnTo>
                    <a:pt x="790421" y="1781130"/>
                  </a:lnTo>
                  <a:lnTo>
                    <a:pt x="789647" y="1777828"/>
                  </a:lnTo>
                  <a:cubicBezTo>
                    <a:pt x="779918" y="1736718"/>
                    <a:pt x="782166" y="1687188"/>
                    <a:pt x="801927" y="1670742"/>
                  </a:cubicBezTo>
                  <a:cubicBezTo>
                    <a:pt x="802588" y="1670195"/>
                    <a:pt x="803261" y="1669688"/>
                    <a:pt x="803960" y="1669218"/>
                  </a:cubicBezTo>
                  <a:cubicBezTo>
                    <a:pt x="804455" y="1668887"/>
                    <a:pt x="804950" y="1668570"/>
                    <a:pt x="805471" y="1668278"/>
                  </a:cubicBezTo>
                  <a:cubicBezTo>
                    <a:pt x="805674" y="1668151"/>
                    <a:pt x="805877" y="1668036"/>
                    <a:pt x="806080" y="1667935"/>
                  </a:cubicBezTo>
                  <a:cubicBezTo>
                    <a:pt x="806804" y="1667541"/>
                    <a:pt x="807541" y="1667198"/>
                    <a:pt x="808303" y="1666881"/>
                  </a:cubicBezTo>
                  <a:cubicBezTo>
                    <a:pt x="809065" y="1666563"/>
                    <a:pt x="809840" y="1666297"/>
                    <a:pt x="810640" y="1666055"/>
                  </a:cubicBezTo>
                  <a:cubicBezTo>
                    <a:pt x="811427" y="1665814"/>
                    <a:pt x="812240" y="1665611"/>
                    <a:pt x="813078" y="1665446"/>
                  </a:cubicBezTo>
                  <a:cubicBezTo>
                    <a:pt x="813916" y="1665281"/>
                    <a:pt x="814767" y="1665154"/>
                    <a:pt x="815631" y="1665065"/>
                  </a:cubicBezTo>
                  <a:cubicBezTo>
                    <a:pt x="816507" y="1664963"/>
                    <a:pt x="817396" y="1664912"/>
                    <a:pt x="818298" y="1664887"/>
                  </a:cubicBezTo>
                  <a:cubicBezTo>
                    <a:pt x="818603" y="1664874"/>
                    <a:pt x="818920" y="1664874"/>
                    <a:pt x="819225" y="1664874"/>
                  </a:cubicBezTo>
                  <a:cubicBezTo>
                    <a:pt x="819834" y="1664874"/>
                    <a:pt x="820457" y="1664887"/>
                    <a:pt x="821079" y="1664912"/>
                  </a:cubicBezTo>
                  <a:cubicBezTo>
                    <a:pt x="822031" y="1664963"/>
                    <a:pt x="823009" y="1665052"/>
                    <a:pt x="823987" y="1665166"/>
                  </a:cubicBezTo>
                  <a:cubicBezTo>
                    <a:pt x="824978" y="1665281"/>
                    <a:pt x="825981" y="1665433"/>
                    <a:pt x="827010" y="1665623"/>
                  </a:cubicBezTo>
                  <a:cubicBezTo>
                    <a:pt x="828039" y="1665814"/>
                    <a:pt x="829093" y="1666043"/>
                    <a:pt x="830160" y="1666309"/>
                  </a:cubicBezTo>
                  <a:cubicBezTo>
                    <a:pt x="831239" y="1666576"/>
                    <a:pt x="832331" y="1666868"/>
                    <a:pt x="833436" y="1667211"/>
                  </a:cubicBezTo>
                  <a:cubicBezTo>
                    <a:pt x="834554" y="1667554"/>
                    <a:pt x="835697" y="1667922"/>
                    <a:pt x="836840" y="1668341"/>
                  </a:cubicBezTo>
                  <a:cubicBezTo>
                    <a:pt x="838008" y="1668760"/>
                    <a:pt x="839202" y="1669218"/>
                    <a:pt x="840396" y="1669700"/>
                  </a:cubicBezTo>
                  <a:cubicBezTo>
                    <a:pt x="841615" y="1670208"/>
                    <a:pt x="842847" y="1670754"/>
                    <a:pt x="844091" y="1671326"/>
                  </a:cubicBezTo>
                  <a:cubicBezTo>
                    <a:pt x="845374" y="1671910"/>
                    <a:pt x="846657" y="1672545"/>
                    <a:pt x="847965" y="1673205"/>
                  </a:cubicBezTo>
                  <a:cubicBezTo>
                    <a:pt x="849298" y="1673891"/>
                    <a:pt x="850657" y="1674628"/>
                    <a:pt x="852016" y="1675390"/>
                  </a:cubicBezTo>
                  <a:cubicBezTo>
                    <a:pt x="853426" y="1676177"/>
                    <a:pt x="854836" y="1677003"/>
                    <a:pt x="856245" y="1677866"/>
                  </a:cubicBezTo>
                  <a:cubicBezTo>
                    <a:pt x="857744" y="1678781"/>
                    <a:pt x="859242" y="1679733"/>
                    <a:pt x="860728" y="1680711"/>
                  </a:cubicBezTo>
                  <a:cubicBezTo>
                    <a:pt x="862316" y="1681765"/>
                    <a:pt x="863903" y="1682845"/>
                    <a:pt x="865478" y="1683962"/>
                  </a:cubicBezTo>
                  <a:cubicBezTo>
                    <a:pt x="867180" y="1685181"/>
                    <a:pt x="868882" y="1686426"/>
                    <a:pt x="870571" y="1687721"/>
                  </a:cubicBezTo>
                  <a:cubicBezTo>
                    <a:pt x="872425" y="1689144"/>
                    <a:pt x="874279" y="1690604"/>
                    <a:pt x="876108" y="1692103"/>
                  </a:cubicBezTo>
                  <a:cubicBezTo>
                    <a:pt x="876921" y="1692776"/>
                    <a:pt x="877746" y="1693462"/>
                    <a:pt x="878559" y="1694148"/>
                  </a:cubicBezTo>
                  <a:cubicBezTo>
                    <a:pt x="887081" y="1701374"/>
                    <a:pt x="895285" y="1709489"/>
                    <a:pt x="902664" y="1717935"/>
                  </a:cubicBezTo>
                  <a:lnTo>
                    <a:pt x="903108" y="1770627"/>
                  </a:lnTo>
                  <a:lnTo>
                    <a:pt x="903108" y="1772100"/>
                  </a:lnTo>
                  <a:lnTo>
                    <a:pt x="903121" y="1772621"/>
                  </a:lnTo>
                  <a:lnTo>
                    <a:pt x="903121" y="1773230"/>
                  </a:lnTo>
                  <a:lnTo>
                    <a:pt x="903133" y="1773891"/>
                  </a:lnTo>
                  <a:lnTo>
                    <a:pt x="903133" y="1774627"/>
                  </a:lnTo>
                  <a:lnTo>
                    <a:pt x="903146" y="1775440"/>
                  </a:lnTo>
                  <a:lnTo>
                    <a:pt x="903146" y="1776304"/>
                  </a:lnTo>
                  <a:lnTo>
                    <a:pt x="903159" y="1777243"/>
                  </a:lnTo>
                  <a:lnTo>
                    <a:pt x="903159" y="1778247"/>
                  </a:lnTo>
                  <a:lnTo>
                    <a:pt x="903172" y="1779301"/>
                  </a:lnTo>
                  <a:lnTo>
                    <a:pt x="903184" y="1780418"/>
                  </a:lnTo>
                  <a:lnTo>
                    <a:pt x="903197" y="1781600"/>
                  </a:lnTo>
                  <a:lnTo>
                    <a:pt x="903197" y="1782819"/>
                  </a:lnTo>
                  <a:lnTo>
                    <a:pt x="903235" y="1786857"/>
                  </a:lnTo>
                  <a:lnTo>
                    <a:pt x="903299" y="1795062"/>
                  </a:lnTo>
                  <a:lnTo>
                    <a:pt x="903375" y="1803024"/>
                  </a:lnTo>
                  <a:lnTo>
                    <a:pt x="903438" y="1810759"/>
                  </a:lnTo>
                  <a:lnTo>
                    <a:pt x="903502" y="1818265"/>
                  </a:lnTo>
                  <a:lnTo>
                    <a:pt x="903553" y="1825554"/>
                  </a:lnTo>
                  <a:lnTo>
                    <a:pt x="903616" y="1832628"/>
                  </a:lnTo>
                  <a:lnTo>
                    <a:pt x="903629" y="1834558"/>
                  </a:lnTo>
                  <a:cubicBezTo>
                    <a:pt x="903642" y="1836083"/>
                    <a:pt x="903642" y="1837721"/>
                    <a:pt x="903654" y="1839448"/>
                  </a:cubicBezTo>
                  <a:cubicBezTo>
                    <a:pt x="903654" y="1841505"/>
                    <a:pt x="903642" y="1843702"/>
                    <a:pt x="903629" y="1846001"/>
                  </a:cubicBezTo>
                  <a:cubicBezTo>
                    <a:pt x="903603" y="1848020"/>
                    <a:pt x="903565" y="1850116"/>
                    <a:pt x="903514" y="1852262"/>
                  </a:cubicBezTo>
                  <a:cubicBezTo>
                    <a:pt x="903464" y="1854218"/>
                    <a:pt x="903400" y="1856212"/>
                    <a:pt x="903311" y="1858231"/>
                  </a:cubicBezTo>
                  <a:cubicBezTo>
                    <a:pt x="903235" y="1860111"/>
                    <a:pt x="903133" y="1862003"/>
                    <a:pt x="903007" y="1863908"/>
                  </a:cubicBezTo>
                  <a:cubicBezTo>
                    <a:pt x="902892" y="1865699"/>
                    <a:pt x="902752" y="1867489"/>
                    <a:pt x="902587" y="1869267"/>
                  </a:cubicBezTo>
                  <a:cubicBezTo>
                    <a:pt x="902435" y="1870969"/>
                    <a:pt x="902257" y="1872658"/>
                    <a:pt x="902067" y="1874335"/>
                  </a:cubicBezTo>
                  <a:cubicBezTo>
                    <a:pt x="901876" y="1875935"/>
                    <a:pt x="901660" y="1877522"/>
                    <a:pt x="901419" y="1879084"/>
                  </a:cubicBezTo>
                  <a:cubicBezTo>
                    <a:pt x="901190" y="1880596"/>
                    <a:pt x="900936" y="1882082"/>
                    <a:pt x="900657" y="1883530"/>
                  </a:cubicBezTo>
                  <a:cubicBezTo>
                    <a:pt x="900390" y="1884939"/>
                    <a:pt x="900098" y="1886324"/>
                    <a:pt x="899781" y="1887670"/>
                  </a:cubicBezTo>
                  <a:cubicBezTo>
                    <a:pt x="899463" y="1888978"/>
                    <a:pt x="899133" y="1890248"/>
                    <a:pt x="898765" y="1891480"/>
                  </a:cubicBezTo>
                  <a:cubicBezTo>
                    <a:pt x="898409" y="1892674"/>
                    <a:pt x="898028" y="1893842"/>
                    <a:pt x="897622" y="1894959"/>
                  </a:cubicBezTo>
                  <a:cubicBezTo>
                    <a:pt x="897228" y="1896052"/>
                    <a:pt x="896796" y="1897106"/>
                    <a:pt x="896339" y="1898109"/>
                  </a:cubicBezTo>
                  <a:cubicBezTo>
                    <a:pt x="895882" y="1899100"/>
                    <a:pt x="895412" y="1900052"/>
                    <a:pt x="894904" y="1900941"/>
                  </a:cubicBezTo>
                  <a:cubicBezTo>
                    <a:pt x="894383" y="1901830"/>
                    <a:pt x="893837" y="1902681"/>
                    <a:pt x="893253" y="1903456"/>
                  </a:cubicBezTo>
                  <a:cubicBezTo>
                    <a:pt x="891869" y="1905323"/>
                    <a:pt x="890281" y="1906834"/>
                    <a:pt x="888490" y="1907863"/>
                  </a:cubicBezTo>
                  <a:cubicBezTo>
                    <a:pt x="885658" y="1909514"/>
                    <a:pt x="882496" y="1910263"/>
                    <a:pt x="879118" y="1910263"/>
                  </a:cubicBezTo>
                  <a:cubicBezTo>
                    <a:pt x="861986" y="1910263"/>
                    <a:pt x="839113" y="1890972"/>
                    <a:pt x="822806" y="1871922"/>
                  </a:cubicBezTo>
                  <a:lnTo>
                    <a:pt x="819123" y="1867629"/>
                  </a:lnTo>
                  <a:lnTo>
                    <a:pt x="814437" y="1870779"/>
                  </a:lnTo>
                  <a:cubicBezTo>
                    <a:pt x="791780" y="1885993"/>
                    <a:pt x="770647" y="1903291"/>
                    <a:pt x="751306" y="1922430"/>
                  </a:cubicBezTo>
                  <a:cubicBezTo>
                    <a:pt x="741984" y="1931650"/>
                    <a:pt x="733081" y="1941302"/>
                    <a:pt x="724623" y="1951360"/>
                  </a:cubicBezTo>
                  <a:lnTo>
                    <a:pt x="720965" y="1955691"/>
                  </a:lnTo>
                  <a:lnTo>
                    <a:pt x="724851" y="1959806"/>
                  </a:lnTo>
                  <a:cubicBezTo>
                    <a:pt x="727899" y="1963031"/>
                    <a:pt x="730859" y="1966486"/>
                    <a:pt x="733678" y="1970105"/>
                  </a:cubicBezTo>
                  <a:cubicBezTo>
                    <a:pt x="735418" y="1972328"/>
                    <a:pt x="737094" y="1974614"/>
                    <a:pt x="738707" y="1976938"/>
                  </a:cubicBezTo>
                  <a:cubicBezTo>
                    <a:pt x="740104" y="1978944"/>
                    <a:pt x="741450" y="1980976"/>
                    <a:pt x="742733" y="1983034"/>
                  </a:cubicBezTo>
                  <a:cubicBezTo>
                    <a:pt x="743876" y="1984863"/>
                    <a:pt x="744968" y="1986704"/>
                    <a:pt x="746010" y="1988546"/>
                  </a:cubicBezTo>
                  <a:cubicBezTo>
                    <a:pt x="746962" y="1990235"/>
                    <a:pt x="747864" y="1991936"/>
                    <a:pt x="748727" y="1993626"/>
                  </a:cubicBezTo>
                  <a:cubicBezTo>
                    <a:pt x="749515" y="1995213"/>
                    <a:pt x="750277" y="1996788"/>
                    <a:pt x="750975" y="1998363"/>
                  </a:cubicBezTo>
                  <a:cubicBezTo>
                    <a:pt x="751636" y="1999849"/>
                    <a:pt x="752258" y="2001334"/>
                    <a:pt x="752829" y="2002795"/>
                  </a:cubicBezTo>
                  <a:cubicBezTo>
                    <a:pt x="753376" y="2004205"/>
                    <a:pt x="753871" y="2005589"/>
                    <a:pt x="754328" y="2006960"/>
                  </a:cubicBezTo>
                  <a:cubicBezTo>
                    <a:pt x="754760" y="2008281"/>
                    <a:pt x="755141" y="2009589"/>
                    <a:pt x="755484" y="2010872"/>
                  </a:cubicBezTo>
                  <a:cubicBezTo>
                    <a:pt x="755814" y="2012130"/>
                    <a:pt x="756093" y="2013361"/>
                    <a:pt x="756335" y="2014568"/>
                  </a:cubicBezTo>
                  <a:cubicBezTo>
                    <a:pt x="756563" y="2015749"/>
                    <a:pt x="756741" y="2016905"/>
                    <a:pt x="756868" y="2018035"/>
                  </a:cubicBezTo>
                  <a:cubicBezTo>
                    <a:pt x="757008" y="2019140"/>
                    <a:pt x="757084" y="2020232"/>
                    <a:pt x="757122" y="2021286"/>
                  </a:cubicBezTo>
                  <a:cubicBezTo>
                    <a:pt x="757147" y="2022328"/>
                    <a:pt x="757135" y="2023344"/>
                    <a:pt x="757071" y="2024334"/>
                  </a:cubicBezTo>
                  <a:cubicBezTo>
                    <a:pt x="756995" y="2025299"/>
                    <a:pt x="756881" y="2026252"/>
                    <a:pt x="756716" y="2027154"/>
                  </a:cubicBezTo>
                  <a:cubicBezTo>
                    <a:pt x="756551" y="2028055"/>
                    <a:pt x="756322" y="2028932"/>
                    <a:pt x="756055" y="2029770"/>
                  </a:cubicBezTo>
                  <a:cubicBezTo>
                    <a:pt x="755776" y="2030608"/>
                    <a:pt x="755458" y="2031408"/>
                    <a:pt x="755077" y="2032170"/>
                  </a:cubicBezTo>
                  <a:cubicBezTo>
                    <a:pt x="754925" y="2032449"/>
                    <a:pt x="754773" y="2032729"/>
                    <a:pt x="754620" y="2033008"/>
                  </a:cubicBezTo>
                  <a:cubicBezTo>
                    <a:pt x="754353" y="2033465"/>
                    <a:pt x="754061" y="2033923"/>
                    <a:pt x="753744" y="2034354"/>
                  </a:cubicBezTo>
                  <a:cubicBezTo>
                    <a:pt x="748524" y="2041543"/>
                    <a:pt x="736878" y="2044667"/>
                    <a:pt x="722731" y="2044667"/>
                  </a:cubicBezTo>
                  <a:cubicBezTo>
                    <a:pt x="708125" y="2044667"/>
                    <a:pt x="690854" y="2041352"/>
                    <a:pt x="675182" y="2035789"/>
                  </a:cubicBezTo>
                  <a:lnTo>
                    <a:pt x="671486" y="2034481"/>
                  </a:lnTo>
                  <a:lnTo>
                    <a:pt x="669860" y="2033897"/>
                  </a:lnTo>
                  <a:lnTo>
                    <a:pt x="667359" y="2038977"/>
                  </a:lnTo>
                  <a:cubicBezTo>
                    <a:pt x="649477" y="2075286"/>
                    <a:pt x="636841" y="2113894"/>
                    <a:pt x="629830" y="2153709"/>
                  </a:cubicBezTo>
                  <a:lnTo>
                    <a:pt x="628840" y="2159284"/>
                  </a:lnTo>
                  <a:lnTo>
                    <a:pt x="634250" y="2160897"/>
                  </a:lnTo>
                  <a:cubicBezTo>
                    <a:pt x="654621" y="2166993"/>
                    <a:pt x="676071" y="2178652"/>
                    <a:pt x="687780" y="2191275"/>
                  </a:cubicBezTo>
                  <a:cubicBezTo>
                    <a:pt x="687907" y="2191415"/>
                    <a:pt x="688047" y="2191567"/>
                    <a:pt x="688174" y="2191707"/>
                  </a:cubicBezTo>
                  <a:cubicBezTo>
                    <a:pt x="688949" y="2192571"/>
                    <a:pt x="689685" y="2193422"/>
                    <a:pt x="690371" y="2194285"/>
                  </a:cubicBezTo>
                  <a:cubicBezTo>
                    <a:pt x="691006" y="2195098"/>
                    <a:pt x="691615" y="2195911"/>
                    <a:pt x="692162" y="2196736"/>
                  </a:cubicBezTo>
                  <a:cubicBezTo>
                    <a:pt x="692695" y="2197511"/>
                    <a:pt x="693190" y="2198286"/>
                    <a:pt x="693622" y="2199073"/>
                  </a:cubicBezTo>
                  <a:cubicBezTo>
                    <a:pt x="694054" y="2199822"/>
                    <a:pt x="694435" y="2200572"/>
                    <a:pt x="694778" y="2201321"/>
                  </a:cubicBezTo>
                  <a:cubicBezTo>
                    <a:pt x="695108" y="2202045"/>
                    <a:pt x="695400" y="2202781"/>
                    <a:pt x="695654" y="2203505"/>
                  </a:cubicBezTo>
                  <a:cubicBezTo>
                    <a:pt x="695895" y="2204204"/>
                    <a:pt x="696099" y="2204915"/>
                    <a:pt x="696264" y="2205614"/>
                  </a:cubicBezTo>
                  <a:cubicBezTo>
                    <a:pt x="696416" y="2206312"/>
                    <a:pt x="696530" y="2206998"/>
                    <a:pt x="696607" y="2207684"/>
                  </a:cubicBezTo>
                  <a:cubicBezTo>
                    <a:pt x="696670" y="2208268"/>
                    <a:pt x="696696" y="2208852"/>
                    <a:pt x="696696" y="2209436"/>
                  </a:cubicBezTo>
                  <a:cubicBezTo>
                    <a:pt x="696696" y="2209525"/>
                    <a:pt x="696696" y="2209614"/>
                    <a:pt x="696696" y="2209703"/>
                  </a:cubicBezTo>
                  <a:cubicBezTo>
                    <a:pt x="696683" y="2210363"/>
                    <a:pt x="696632" y="2211036"/>
                    <a:pt x="696530" y="2211697"/>
                  </a:cubicBezTo>
                  <a:cubicBezTo>
                    <a:pt x="696429" y="2212357"/>
                    <a:pt x="696289" y="2213018"/>
                    <a:pt x="696111" y="2213665"/>
                  </a:cubicBezTo>
                  <a:cubicBezTo>
                    <a:pt x="695934" y="2214326"/>
                    <a:pt x="695718" y="2214973"/>
                    <a:pt x="695451" y="2215621"/>
                  </a:cubicBezTo>
                  <a:cubicBezTo>
                    <a:pt x="695197" y="2216269"/>
                    <a:pt x="694892" y="2216917"/>
                    <a:pt x="694562" y="2217564"/>
                  </a:cubicBezTo>
                  <a:cubicBezTo>
                    <a:pt x="694232" y="2218199"/>
                    <a:pt x="693851" y="2218847"/>
                    <a:pt x="693444" y="2219482"/>
                  </a:cubicBezTo>
                  <a:cubicBezTo>
                    <a:pt x="693038" y="2220117"/>
                    <a:pt x="692594" y="2220752"/>
                    <a:pt x="692111" y="2221387"/>
                  </a:cubicBezTo>
                  <a:cubicBezTo>
                    <a:pt x="691628" y="2222022"/>
                    <a:pt x="691120" y="2222644"/>
                    <a:pt x="690574" y="2223267"/>
                  </a:cubicBezTo>
                  <a:cubicBezTo>
                    <a:pt x="679259" y="2236144"/>
                    <a:pt x="653986" y="2246965"/>
                    <a:pt x="629360" y="2251524"/>
                  </a:cubicBezTo>
                  <a:lnTo>
                    <a:pt x="627760" y="2251829"/>
                  </a:lnTo>
                  <a:lnTo>
                    <a:pt x="623798" y="2252565"/>
                  </a:lnTo>
                  <a:lnTo>
                    <a:pt x="624166" y="2258191"/>
                  </a:lnTo>
                  <a:cubicBezTo>
                    <a:pt x="626833" y="2298653"/>
                    <a:pt x="635177" y="2338404"/>
                    <a:pt x="648944" y="2376339"/>
                  </a:cubicBezTo>
                  <a:lnTo>
                    <a:pt x="650861" y="2381661"/>
                  </a:lnTo>
                  <a:lnTo>
                    <a:pt x="656373" y="2380352"/>
                  </a:lnTo>
                  <a:cubicBezTo>
                    <a:pt x="667282" y="2377774"/>
                    <a:pt x="679233" y="2376377"/>
                    <a:pt x="690498" y="2376377"/>
                  </a:cubicBezTo>
                  <a:cubicBezTo>
                    <a:pt x="710767" y="2376377"/>
                    <a:pt x="728839" y="2380886"/>
                    <a:pt x="734745" y="2391147"/>
                  </a:cubicBezTo>
                  <a:cubicBezTo>
                    <a:pt x="741425" y="2402717"/>
                    <a:pt x="732420" y="2422707"/>
                    <a:pt x="717282" y="2441160"/>
                  </a:cubicBezTo>
                  <a:cubicBezTo>
                    <a:pt x="716825" y="2441706"/>
                    <a:pt x="716368" y="2442265"/>
                    <a:pt x="715898" y="2442824"/>
                  </a:cubicBezTo>
                  <a:cubicBezTo>
                    <a:pt x="715834" y="2442900"/>
                    <a:pt x="715758" y="2442989"/>
                    <a:pt x="715695" y="2443065"/>
                  </a:cubicBezTo>
                  <a:cubicBezTo>
                    <a:pt x="715123" y="2443738"/>
                    <a:pt x="714564" y="2444386"/>
                    <a:pt x="713980" y="2445046"/>
                  </a:cubicBezTo>
                  <a:cubicBezTo>
                    <a:pt x="713396" y="2445719"/>
                    <a:pt x="712799" y="2446392"/>
                    <a:pt x="712190" y="2447065"/>
                  </a:cubicBezTo>
                  <a:cubicBezTo>
                    <a:pt x="711618" y="2447700"/>
                    <a:pt x="711021" y="2448335"/>
                    <a:pt x="710437" y="2448958"/>
                  </a:cubicBezTo>
                  <a:cubicBezTo>
                    <a:pt x="709853" y="2449593"/>
                    <a:pt x="709256" y="2450215"/>
                    <a:pt x="708646" y="2450837"/>
                  </a:cubicBezTo>
                  <a:cubicBezTo>
                    <a:pt x="705090" y="2454520"/>
                    <a:pt x="701344" y="2458063"/>
                    <a:pt x="697483" y="2461365"/>
                  </a:cubicBezTo>
                  <a:lnTo>
                    <a:pt x="697166" y="2461619"/>
                  </a:lnTo>
                  <a:lnTo>
                    <a:pt x="693190" y="2465023"/>
                  </a:lnTo>
                  <a:lnTo>
                    <a:pt x="696340" y="2469722"/>
                  </a:lnTo>
                  <a:cubicBezTo>
                    <a:pt x="718844" y="2503237"/>
                    <a:pt x="745946" y="2533451"/>
                    <a:pt x="776921" y="2559523"/>
                  </a:cubicBezTo>
                  <a:lnTo>
                    <a:pt x="781252" y="2563168"/>
                  </a:lnTo>
                  <a:lnTo>
                    <a:pt x="785367" y="2559295"/>
                  </a:lnTo>
                  <a:cubicBezTo>
                    <a:pt x="803896" y="2541833"/>
                    <a:pt x="830134" y="2526999"/>
                    <a:pt x="847863" y="2526999"/>
                  </a:cubicBezTo>
                  <a:cubicBezTo>
                    <a:pt x="851940" y="2526999"/>
                    <a:pt x="855572" y="2527799"/>
                    <a:pt x="858557" y="2529514"/>
                  </a:cubicBezTo>
                  <a:cubicBezTo>
                    <a:pt x="874660" y="2538797"/>
                    <a:pt x="872615" y="2577215"/>
                    <a:pt x="861325" y="2608990"/>
                  </a:cubicBezTo>
                  <a:lnTo>
                    <a:pt x="859433" y="2614311"/>
                  </a:lnTo>
                  <a:lnTo>
                    <a:pt x="864500" y="2616813"/>
                  </a:lnTo>
                  <a:cubicBezTo>
                    <a:pt x="900835" y="2634682"/>
                    <a:pt x="939443" y="2647306"/>
                    <a:pt x="979270" y="2654329"/>
                  </a:cubicBezTo>
                  <a:lnTo>
                    <a:pt x="984845" y="2655319"/>
                  </a:lnTo>
                  <a:lnTo>
                    <a:pt x="986090" y="2651128"/>
                  </a:lnTo>
                  <a:lnTo>
                    <a:pt x="986458" y="2649896"/>
                  </a:lnTo>
                  <a:cubicBezTo>
                    <a:pt x="992592" y="2629399"/>
                    <a:pt x="1004365" y="2607783"/>
                    <a:pt x="1017078" y="2596125"/>
                  </a:cubicBezTo>
                  <a:cubicBezTo>
                    <a:pt x="1017713" y="2595553"/>
                    <a:pt x="1018335" y="2595020"/>
                    <a:pt x="1018957" y="2594487"/>
                  </a:cubicBezTo>
                  <a:cubicBezTo>
                    <a:pt x="1019580" y="2593966"/>
                    <a:pt x="1020202" y="2593471"/>
                    <a:pt x="1020837" y="2593013"/>
                  </a:cubicBezTo>
                  <a:cubicBezTo>
                    <a:pt x="1021459" y="2592543"/>
                    <a:pt x="1022082" y="2592112"/>
                    <a:pt x="1022704" y="2591693"/>
                  </a:cubicBezTo>
                  <a:cubicBezTo>
                    <a:pt x="1023326" y="2591286"/>
                    <a:pt x="1023948" y="2590892"/>
                    <a:pt x="1024583" y="2590537"/>
                  </a:cubicBezTo>
                  <a:cubicBezTo>
                    <a:pt x="1025206" y="2590181"/>
                    <a:pt x="1025828" y="2589851"/>
                    <a:pt x="1026450" y="2589559"/>
                  </a:cubicBezTo>
                  <a:cubicBezTo>
                    <a:pt x="1027072" y="2589254"/>
                    <a:pt x="1027708" y="2588988"/>
                    <a:pt x="1028330" y="2588746"/>
                  </a:cubicBezTo>
                  <a:cubicBezTo>
                    <a:pt x="1028952" y="2588505"/>
                    <a:pt x="1029587" y="2588302"/>
                    <a:pt x="1030209" y="2588124"/>
                  </a:cubicBezTo>
                  <a:cubicBezTo>
                    <a:pt x="1030844" y="2587946"/>
                    <a:pt x="1031467" y="2587806"/>
                    <a:pt x="1032102" y="2587692"/>
                  </a:cubicBezTo>
                  <a:cubicBezTo>
                    <a:pt x="1032737" y="2587578"/>
                    <a:pt x="1033359" y="2587514"/>
                    <a:pt x="1033994" y="2587463"/>
                  </a:cubicBezTo>
                  <a:cubicBezTo>
                    <a:pt x="1034324" y="2587451"/>
                    <a:pt x="1034654" y="2587438"/>
                    <a:pt x="1034972" y="2587438"/>
                  </a:cubicBezTo>
                  <a:cubicBezTo>
                    <a:pt x="1035289" y="2587438"/>
                    <a:pt x="1035594" y="2587451"/>
                    <a:pt x="1035899" y="2587463"/>
                  </a:cubicBezTo>
                  <a:cubicBezTo>
                    <a:pt x="1036547" y="2587514"/>
                    <a:pt x="1037194" y="2587590"/>
                    <a:pt x="1037829" y="2587705"/>
                  </a:cubicBezTo>
                  <a:cubicBezTo>
                    <a:pt x="1038490" y="2587832"/>
                    <a:pt x="1039137" y="2587997"/>
                    <a:pt x="1039798" y="2588200"/>
                  </a:cubicBezTo>
                  <a:cubicBezTo>
                    <a:pt x="1040471" y="2588416"/>
                    <a:pt x="1041144" y="2588657"/>
                    <a:pt x="1041804" y="2588962"/>
                  </a:cubicBezTo>
                  <a:cubicBezTo>
                    <a:pt x="1042503" y="2589254"/>
                    <a:pt x="1043189" y="2589610"/>
                    <a:pt x="1043887" y="2590004"/>
                  </a:cubicBezTo>
                  <a:cubicBezTo>
                    <a:pt x="1044611" y="2590410"/>
                    <a:pt x="1045335" y="2590880"/>
                    <a:pt x="1046046" y="2591388"/>
                  </a:cubicBezTo>
                  <a:cubicBezTo>
                    <a:pt x="1060143" y="2601294"/>
                    <a:pt x="1072196" y="2628421"/>
                    <a:pt x="1077085" y="2654811"/>
                  </a:cubicBezTo>
                  <a:lnTo>
                    <a:pt x="1078126" y="2660361"/>
                  </a:lnTo>
                  <a:lnTo>
                    <a:pt x="1083752" y="2659993"/>
                  </a:lnTo>
                  <a:cubicBezTo>
                    <a:pt x="1124151" y="2657326"/>
                    <a:pt x="1163889" y="2648995"/>
                    <a:pt x="1201900" y="2635253"/>
                  </a:cubicBezTo>
                  <a:lnTo>
                    <a:pt x="1207222" y="2633323"/>
                  </a:lnTo>
                  <a:lnTo>
                    <a:pt x="1206701" y="2631113"/>
                  </a:lnTo>
                  <a:lnTo>
                    <a:pt x="1205913" y="2627811"/>
                  </a:lnTo>
                  <a:cubicBezTo>
                    <a:pt x="1198941" y="2598373"/>
                    <a:pt x="1200618" y="2561365"/>
                    <a:pt x="1215045" y="2550507"/>
                  </a:cubicBezTo>
                  <a:cubicBezTo>
                    <a:pt x="1215578" y="2550100"/>
                    <a:pt x="1216137" y="2549745"/>
                    <a:pt x="1216709" y="2549414"/>
                  </a:cubicBezTo>
                  <a:cubicBezTo>
                    <a:pt x="1216848" y="2549325"/>
                    <a:pt x="1216988" y="2549249"/>
                    <a:pt x="1217127" y="2549173"/>
                  </a:cubicBezTo>
                  <a:cubicBezTo>
                    <a:pt x="1217839" y="2548792"/>
                    <a:pt x="1218588" y="2548462"/>
                    <a:pt x="1219350" y="2548195"/>
                  </a:cubicBezTo>
                  <a:cubicBezTo>
                    <a:pt x="1220125" y="2547928"/>
                    <a:pt x="1220925" y="2547713"/>
                    <a:pt x="1221738" y="2547560"/>
                  </a:cubicBezTo>
                  <a:cubicBezTo>
                    <a:pt x="1222563" y="2547395"/>
                    <a:pt x="1223414" y="2547281"/>
                    <a:pt x="1224290" y="2547230"/>
                  </a:cubicBezTo>
                  <a:cubicBezTo>
                    <a:pt x="1224798" y="2547192"/>
                    <a:pt x="1225306" y="2547179"/>
                    <a:pt x="1225827" y="2547179"/>
                  </a:cubicBezTo>
                  <a:cubicBezTo>
                    <a:pt x="1226221" y="2547179"/>
                    <a:pt x="1226602" y="2547192"/>
                    <a:pt x="1227008" y="2547204"/>
                  </a:cubicBezTo>
                  <a:cubicBezTo>
                    <a:pt x="1227948" y="2547255"/>
                    <a:pt x="1228913" y="2547344"/>
                    <a:pt x="1229891" y="2547484"/>
                  </a:cubicBezTo>
                  <a:cubicBezTo>
                    <a:pt x="1230894" y="2547636"/>
                    <a:pt x="1231910" y="2547827"/>
                    <a:pt x="1232952" y="2548068"/>
                  </a:cubicBezTo>
                  <a:cubicBezTo>
                    <a:pt x="1234006" y="2548322"/>
                    <a:pt x="1235085" y="2548614"/>
                    <a:pt x="1236177" y="2548957"/>
                  </a:cubicBezTo>
                  <a:cubicBezTo>
                    <a:pt x="1237308" y="2549313"/>
                    <a:pt x="1238438" y="2549706"/>
                    <a:pt x="1239606" y="2550164"/>
                  </a:cubicBezTo>
                  <a:cubicBezTo>
                    <a:pt x="1240788" y="2550621"/>
                    <a:pt x="1241994" y="2551141"/>
                    <a:pt x="1243213" y="2551700"/>
                  </a:cubicBezTo>
                  <a:cubicBezTo>
                    <a:pt x="1244483" y="2552285"/>
                    <a:pt x="1245766" y="2552920"/>
                    <a:pt x="1247061" y="2553593"/>
                  </a:cubicBezTo>
                  <a:cubicBezTo>
                    <a:pt x="1248408" y="2554304"/>
                    <a:pt x="1249779" y="2555079"/>
                    <a:pt x="1251151" y="2555891"/>
                  </a:cubicBezTo>
                  <a:cubicBezTo>
                    <a:pt x="1252598" y="2556755"/>
                    <a:pt x="1254059" y="2557669"/>
                    <a:pt x="1255520" y="2558635"/>
                  </a:cubicBezTo>
                  <a:cubicBezTo>
                    <a:pt x="1257107" y="2559676"/>
                    <a:pt x="1258695" y="2560781"/>
                    <a:pt x="1260282" y="2561937"/>
                  </a:cubicBezTo>
                  <a:cubicBezTo>
                    <a:pt x="1262047" y="2563219"/>
                    <a:pt x="1263800" y="2564565"/>
                    <a:pt x="1265540" y="2565962"/>
                  </a:cubicBezTo>
                  <a:cubicBezTo>
                    <a:pt x="1267089" y="2567207"/>
                    <a:pt x="1268639" y="2568502"/>
                    <a:pt x="1270163" y="2569836"/>
                  </a:cubicBezTo>
                  <a:cubicBezTo>
                    <a:pt x="1275497" y="2574471"/>
                    <a:pt x="1280640" y="2579589"/>
                    <a:pt x="1285364" y="2584949"/>
                  </a:cubicBezTo>
                  <a:lnTo>
                    <a:pt x="1285364" y="3657639"/>
                  </a:lnTo>
                  <a:lnTo>
                    <a:pt x="1298064" y="3657639"/>
                  </a:lnTo>
                  <a:lnTo>
                    <a:pt x="1298064" y="2580237"/>
                  </a:lnTo>
                  <a:lnTo>
                    <a:pt x="1296540" y="2578459"/>
                  </a:lnTo>
                  <a:cubicBezTo>
                    <a:pt x="1281885" y="2561301"/>
                    <a:pt x="1251506" y="2534416"/>
                    <a:pt x="1225878" y="2534403"/>
                  </a:cubicBezTo>
                  <a:cubicBezTo>
                    <a:pt x="1220417" y="2534403"/>
                    <a:pt x="1215184" y="2535622"/>
                    <a:pt x="1210359" y="2538404"/>
                  </a:cubicBezTo>
                  <a:cubicBezTo>
                    <a:pt x="1208822" y="2539292"/>
                    <a:pt x="1207374" y="2540308"/>
                    <a:pt x="1206041" y="2541451"/>
                  </a:cubicBezTo>
                  <a:cubicBezTo>
                    <a:pt x="1204986" y="2542328"/>
                    <a:pt x="1203996" y="2543293"/>
                    <a:pt x="1203056" y="2544309"/>
                  </a:cubicBezTo>
                  <a:cubicBezTo>
                    <a:pt x="1202015" y="2545465"/>
                    <a:pt x="1201037" y="2546684"/>
                    <a:pt x="1200122" y="2547979"/>
                  </a:cubicBezTo>
                  <a:cubicBezTo>
                    <a:pt x="1199335" y="2549122"/>
                    <a:pt x="1198586" y="2550316"/>
                    <a:pt x="1197887" y="2551561"/>
                  </a:cubicBezTo>
                  <a:cubicBezTo>
                    <a:pt x="1197252" y="2552691"/>
                    <a:pt x="1196655" y="2553872"/>
                    <a:pt x="1196096" y="2555079"/>
                  </a:cubicBezTo>
                  <a:cubicBezTo>
                    <a:pt x="1195588" y="2556196"/>
                    <a:pt x="1195106" y="2557352"/>
                    <a:pt x="1194649" y="2558546"/>
                  </a:cubicBezTo>
                  <a:cubicBezTo>
                    <a:pt x="1194230" y="2559651"/>
                    <a:pt x="1193836" y="2560794"/>
                    <a:pt x="1193455" y="2561962"/>
                  </a:cubicBezTo>
                  <a:cubicBezTo>
                    <a:pt x="1193112" y="2563067"/>
                    <a:pt x="1192782" y="2564184"/>
                    <a:pt x="1192477" y="2565327"/>
                  </a:cubicBezTo>
                  <a:cubicBezTo>
                    <a:pt x="1192197" y="2566420"/>
                    <a:pt x="1191918" y="2567537"/>
                    <a:pt x="1191677" y="2568667"/>
                  </a:cubicBezTo>
                  <a:cubicBezTo>
                    <a:pt x="1191436" y="2569747"/>
                    <a:pt x="1191220" y="2570839"/>
                    <a:pt x="1191016" y="2571944"/>
                  </a:cubicBezTo>
                  <a:cubicBezTo>
                    <a:pt x="1190826" y="2573011"/>
                    <a:pt x="1190648" y="2574090"/>
                    <a:pt x="1190496" y="2575183"/>
                  </a:cubicBezTo>
                  <a:cubicBezTo>
                    <a:pt x="1190331" y="2576237"/>
                    <a:pt x="1190191" y="2577304"/>
                    <a:pt x="1190077" y="2578370"/>
                  </a:cubicBezTo>
                  <a:cubicBezTo>
                    <a:pt x="1189950" y="2579412"/>
                    <a:pt x="1189848" y="2580466"/>
                    <a:pt x="1189746" y="2581520"/>
                  </a:cubicBezTo>
                  <a:cubicBezTo>
                    <a:pt x="1189658" y="2582561"/>
                    <a:pt x="1189581" y="2583590"/>
                    <a:pt x="1189518" y="2584631"/>
                  </a:cubicBezTo>
                  <a:cubicBezTo>
                    <a:pt x="1189454" y="2585647"/>
                    <a:pt x="1189403" y="2586663"/>
                    <a:pt x="1189353" y="2587679"/>
                  </a:cubicBezTo>
                  <a:cubicBezTo>
                    <a:pt x="1189315" y="2588683"/>
                    <a:pt x="1189289" y="2589686"/>
                    <a:pt x="1189264" y="2590689"/>
                  </a:cubicBezTo>
                  <a:cubicBezTo>
                    <a:pt x="1189251" y="2591680"/>
                    <a:pt x="1189238" y="2592658"/>
                    <a:pt x="1189238" y="2593648"/>
                  </a:cubicBezTo>
                  <a:cubicBezTo>
                    <a:pt x="1189251" y="2594626"/>
                    <a:pt x="1189251" y="2595591"/>
                    <a:pt x="1189277" y="2596569"/>
                  </a:cubicBezTo>
                  <a:cubicBezTo>
                    <a:pt x="1189302" y="2597522"/>
                    <a:pt x="1189327" y="2598474"/>
                    <a:pt x="1189365" y="2599427"/>
                  </a:cubicBezTo>
                  <a:cubicBezTo>
                    <a:pt x="1189391" y="2600367"/>
                    <a:pt x="1189442" y="2601306"/>
                    <a:pt x="1189492" y="2602234"/>
                  </a:cubicBezTo>
                  <a:cubicBezTo>
                    <a:pt x="1189543" y="2603161"/>
                    <a:pt x="1189607" y="2604088"/>
                    <a:pt x="1189670" y="2605002"/>
                  </a:cubicBezTo>
                  <a:cubicBezTo>
                    <a:pt x="1189734" y="2605904"/>
                    <a:pt x="1189810" y="2606806"/>
                    <a:pt x="1189886" y="2607707"/>
                  </a:cubicBezTo>
                  <a:cubicBezTo>
                    <a:pt x="1189962" y="2608596"/>
                    <a:pt x="1190051" y="2609485"/>
                    <a:pt x="1190140" y="2610374"/>
                  </a:cubicBezTo>
                  <a:cubicBezTo>
                    <a:pt x="1190242" y="2611238"/>
                    <a:pt x="1190331" y="2612114"/>
                    <a:pt x="1190432" y="2612978"/>
                  </a:cubicBezTo>
                  <a:cubicBezTo>
                    <a:pt x="1190534" y="2613829"/>
                    <a:pt x="1190648" y="2614679"/>
                    <a:pt x="1190762" y="2615518"/>
                  </a:cubicBezTo>
                  <a:cubicBezTo>
                    <a:pt x="1190877" y="2616356"/>
                    <a:pt x="1190991" y="2617194"/>
                    <a:pt x="1191118" y="2618007"/>
                  </a:cubicBezTo>
                  <a:cubicBezTo>
                    <a:pt x="1191232" y="2618832"/>
                    <a:pt x="1191372" y="2619645"/>
                    <a:pt x="1191499" y="2620458"/>
                  </a:cubicBezTo>
                  <a:cubicBezTo>
                    <a:pt x="1191626" y="2621258"/>
                    <a:pt x="1191766" y="2622045"/>
                    <a:pt x="1191905" y="2622846"/>
                  </a:cubicBezTo>
                  <a:cubicBezTo>
                    <a:pt x="1192058" y="2623620"/>
                    <a:pt x="1192197" y="2624395"/>
                    <a:pt x="1192350" y="2625157"/>
                  </a:cubicBezTo>
                  <a:cubicBezTo>
                    <a:pt x="1158797" y="2636790"/>
                    <a:pt x="1123897" y="2644105"/>
                    <a:pt x="1088426" y="2646912"/>
                  </a:cubicBezTo>
                  <a:cubicBezTo>
                    <a:pt x="1082203" y="2619150"/>
                    <a:pt x="1064690" y="2574738"/>
                    <a:pt x="1034972" y="2574738"/>
                  </a:cubicBezTo>
                  <a:cubicBezTo>
                    <a:pt x="1025269" y="2574738"/>
                    <a:pt x="1016201" y="2579589"/>
                    <a:pt x="1008099" y="2587121"/>
                  </a:cubicBezTo>
                  <a:cubicBezTo>
                    <a:pt x="1007705" y="2587489"/>
                    <a:pt x="1007324" y="2587845"/>
                    <a:pt x="1006930" y="2588226"/>
                  </a:cubicBezTo>
                  <a:cubicBezTo>
                    <a:pt x="1005698" y="2589432"/>
                    <a:pt x="1004479" y="2590689"/>
                    <a:pt x="1003298" y="2592010"/>
                  </a:cubicBezTo>
                  <a:cubicBezTo>
                    <a:pt x="1002181" y="2593255"/>
                    <a:pt x="1001076" y="2594550"/>
                    <a:pt x="1000009" y="2595871"/>
                  </a:cubicBezTo>
                  <a:cubicBezTo>
                    <a:pt x="998980" y="2597141"/>
                    <a:pt x="997964" y="2598462"/>
                    <a:pt x="996986" y="2599795"/>
                  </a:cubicBezTo>
                  <a:cubicBezTo>
                    <a:pt x="996034" y="2601091"/>
                    <a:pt x="995107" y="2602424"/>
                    <a:pt x="994192" y="2603770"/>
                  </a:cubicBezTo>
                  <a:cubicBezTo>
                    <a:pt x="993316" y="2605091"/>
                    <a:pt x="992452" y="2606437"/>
                    <a:pt x="991601" y="2607796"/>
                  </a:cubicBezTo>
                  <a:cubicBezTo>
                    <a:pt x="990776" y="2609117"/>
                    <a:pt x="989963" y="2610476"/>
                    <a:pt x="989176" y="2611847"/>
                  </a:cubicBezTo>
                  <a:cubicBezTo>
                    <a:pt x="988401" y="2613194"/>
                    <a:pt x="987639" y="2614565"/>
                    <a:pt x="986903" y="2615924"/>
                  </a:cubicBezTo>
                  <a:cubicBezTo>
                    <a:pt x="986179" y="2617296"/>
                    <a:pt x="985467" y="2618655"/>
                    <a:pt x="984782" y="2620026"/>
                  </a:cubicBezTo>
                  <a:cubicBezTo>
                    <a:pt x="984083" y="2621410"/>
                    <a:pt x="983423" y="2622782"/>
                    <a:pt x="982775" y="2624154"/>
                  </a:cubicBezTo>
                  <a:cubicBezTo>
                    <a:pt x="982127" y="2625538"/>
                    <a:pt x="981505" y="2626922"/>
                    <a:pt x="980908" y="2628307"/>
                  </a:cubicBezTo>
                  <a:cubicBezTo>
                    <a:pt x="980299" y="2629704"/>
                    <a:pt x="979714" y="2631088"/>
                    <a:pt x="979168" y="2632459"/>
                  </a:cubicBezTo>
                  <a:cubicBezTo>
                    <a:pt x="978597" y="2633869"/>
                    <a:pt x="978051" y="2635266"/>
                    <a:pt x="977530" y="2636650"/>
                  </a:cubicBezTo>
                  <a:cubicBezTo>
                    <a:pt x="977009" y="2638060"/>
                    <a:pt x="976514" y="2639457"/>
                    <a:pt x="976031" y="2640829"/>
                  </a:cubicBezTo>
                  <a:cubicBezTo>
                    <a:pt x="941119" y="2634199"/>
                    <a:pt x="907210" y="2623112"/>
                    <a:pt x="875092" y="2607822"/>
                  </a:cubicBezTo>
                  <a:cubicBezTo>
                    <a:pt x="883614" y="2580631"/>
                    <a:pt x="890700" y="2533374"/>
                    <a:pt x="864907" y="2518515"/>
                  </a:cubicBezTo>
                  <a:cubicBezTo>
                    <a:pt x="859827" y="2515569"/>
                    <a:pt x="854048" y="2514299"/>
                    <a:pt x="847876" y="2514299"/>
                  </a:cubicBezTo>
                  <a:cubicBezTo>
                    <a:pt x="825727" y="2514286"/>
                    <a:pt x="798587" y="2530809"/>
                    <a:pt x="780884" y="2546214"/>
                  </a:cubicBezTo>
                  <a:cubicBezTo>
                    <a:pt x="753972" y="2522948"/>
                    <a:pt x="730160" y="2496417"/>
                    <a:pt x="709992" y="2467220"/>
                  </a:cubicBezTo>
                  <a:cubicBezTo>
                    <a:pt x="711237" y="2466064"/>
                    <a:pt x="712520" y="2464858"/>
                    <a:pt x="713815" y="2463575"/>
                  </a:cubicBezTo>
                  <a:cubicBezTo>
                    <a:pt x="714856" y="2462559"/>
                    <a:pt x="715898" y="2461505"/>
                    <a:pt x="716952" y="2460426"/>
                  </a:cubicBezTo>
                  <a:cubicBezTo>
                    <a:pt x="736751" y="2440030"/>
                    <a:pt x="758989" y="2407759"/>
                    <a:pt x="745755" y="2384797"/>
                  </a:cubicBezTo>
                  <a:cubicBezTo>
                    <a:pt x="736624" y="2368986"/>
                    <a:pt x="713726" y="2363690"/>
                    <a:pt x="690752" y="2363690"/>
                  </a:cubicBezTo>
                  <a:cubicBezTo>
                    <a:pt x="679677" y="2363690"/>
                    <a:pt x="668603" y="2364922"/>
                    <a:pt x="659027" y="2366789"/>
                  </a:cubicBezTo>
                  <a:cubicBezTo>
                    <a:pt x="647381" y="2333286"/>
                    <a:pt x="640054" y="2298387"/>
                    <a:pt x="637247" y="2262878"/>
                  </a:cubicBezTo>
                  <a:cubicBezTo>
                    <a:pt x="638542" y="2262586"/>
                    <a:pt x="639876" y="2262268"/>
                    <a:pt x="641235" y="2261925"/>
                  </a:cubicBezTo>
                  <a:cubicBezTo>
                    <a:pt x="642543" y="2261595"/>
                    <a:pt x="643876" y="2261252"/>
                    <a:pt x="645235" y="2260884"/>
                  </a:cubicBezTo>
                  <a:cubicBezTo>
                    <a:pt x="646543" y="2260516"/>
                    <a:pt x="647877" y="2260135"/>
                    <a:pt x="649223" y="2259728"/>
                  </a:cubicBezTo>
                  <a:cubicBezTo>
                    <a:pt x="650556" y="2259334"/>
                    <a:pt x="651890" y="2258928"/>
                    <a:pt x="653236" y="2258484"/>
                  </a:cubicBezTo>
                  <a:cubicBezTo>
                    <a:pt x="654570" y="2258064"/>
                    <a:pt x="655903" y="2257607"/>
                    <a:pt x="657249" y="2257137"/>
                  </a:cubicBezTo>
                  <a:cubicBezTo>
                    <a:pt x="658583" y="2256680"/>
                    <a:pt x="659916" y="2256185"/>
                    <a:pt x="661263" y="2255677"/>
                  </a:cubicBezTo>
                  <a:cubicBezTo>
                    <a:pt x="662609" y="2255182"/>
                    <a:pt x="663942" y="2254648"/>
                    <a:pt x="665276" y="2254102"/>
                  </a:cubicBezTo>
                  <a:cubicBezTo>
                    <a:pt x="666622" y="2253569"/>
                    <a:pt x="667956" y="2252997"/>
                    <a:pt x="669289" y="2252413"/>
                  </a:cubicBezTo>
                  <a:cubicBezTo>
                    <a:pt x="670622" y="2251816"/>
                    <a:pt x="671956" y="2251206"/>
                    <a:pt x="673290" y="2250571"/>
                  </a:cubicBezTo>
                  <a:cubicBezTo>
                    <a:pt x="674623" y="2249936"/>
                    <a:pt x="675956" y="2249276"/>
                    <a:pt x="677265" y="2248590"/>
                  </a:cubicBezTo>
                  <a:cubicBezTo>
                    <a:pt x="678611" y="2247892"/>
                    <a:pt x="679944" y="2247168"/>
                    <a:pt x="681240" y="2246419"/>
                  </a:cubicBezTo>
                  <a:cubicBezTo>
                    <a:pt x="682586" y="2245657"/>
                    <a:pt x="683907" y="2244856"/>
                    <a:pt x="685202" y="2244044"/>
                  </a:cubicBezTo>
                  <a:cubicBezTo>
                    <a:pt x="686536" y="2243193"/>
                    <a:pt x="687844" y="2242329"/>
                    <a:pt x="689114" y="2241427"/>
                  </a:cubicBezTo>
                  <a:cubicBezTo>
                    <a:pt x="690447" y="2240475"/>
                    <a:pt x="691743" y="2239497"/>
                    <a:pt x="692987" y="2238494"/>
                  </a:cubicBezTo>
                  <a:cubicBezTo>
                    <a:pt x="694321" y="2237414"/>
                    <a:pt x="695591" y="2236309"/>
                    <a:pt x="696797" y="2235166"/>
                  </a:cubicBezTo>
                  <a:cubicBezTo>
                    <a:pt x="697826" y="2234189"/>
                    <a:pt x="698804" y="2233198"/>
                    <a:pt x="699731" y="2232169"/>
                  </a:cubicBezTo>
                  <a:cubicBezTo>
                    <a:pt x="705687" y="2225603"/>
                    <a:pt x="709396" y="2218021"/>
                    <a:pt x="709396" y="2209436"/>
                  </a:cubicBezTo>
                  <a:cubicBezTo>
                    <a:pt x="709421" y="2182385"/>
                    <a:pt x="671740" y="2160211"/>
                    <a:pt x="643318" y="2150470"/>
                  </a:cubicBezTo>
                  <a:cubicBezTo>
                    <a:pt x="649972" y="2115571"/>
                    <a:pt x="661059" y="2081675"/>
                    <a:pt x="676350" y="2049556"/>
                  </a:cubicBezTo>
                  <a:cubicBezTo>
                    <a:pt x="676922" y="2049734"/>
                    <a:pt x="677493" y="2049912"/>
                    <a:pt x="678077" y="2050090"/>
                  </a:cubicBezTo>
                  <a:cubicBezTo>
                    <a:pt x="678674" y="2050267"/>
                    <a:pt x="679284" y="2050445"/>
                    <a:pt x="679894" y="2050623"/>
                  </a:cubicBezTo>
                  <a:cubicBezTo>
                    <a:pt x="680503" y="2050801"/>
                    <a:pt x="681125" y="2050979"/>
                    <a:pt x="681748" y="2051156"/>
                  </a:cubicBezTo>
                  <a:cubicBezTo>
                    <a:pt x="682383" y="2051334"/>
                    <a:pt x="683018" y="2051499"/>
                    <a:pt x="683665" y="2051677"/>
                  </a:cubicBezTo>
                  <a:cubicBezTo>
                    <a:pt x="684326" y="2051842"/>
                    <a:pt x="684986" y="2052020"/>
                    <a:pt x="685659" y="2052185"/>
                  </a:cubicBezTo>
                  <a:cubicBezTo>
                    <a:pt x="686320" y="2052363"/>
                    <a:pt x="687006" y="2052528"/>
                    <a:pt x="687691" y="2052693"/>
                  </a:cubicBezTo>
                  <a:cubicBezTo>
                    <a:pt x="688377" y="2052858"/>
                    <a:pt x="689076" y="2053023"/>
                    <a:pt x="689787" y="2053188"/>
                  </a:cubicBezTo>
                  <a:cubicBezTo>
                    <a:pt x="690498" y="2053353"/>
                    <a:pt x="691222" y="2053519"/>
                    <a:pt x="691946" y="2053671"/>
                  </a:cubicBezTo>
                  <a:cubicBezTo>
                    <a:pt x="692682" y="2053836"/>
                    <a:pt x="693419" y="2053988"/>
                    <a:pt x="694156" y="2054141"/>
                  </a:cubicBezTo>
                  <a:cubicBezTo>
                    <a:pt x="694905" y="2054293"/>
                    <a:pt x="695667" y="2054446"/>
                    <a:pt x="696429" y="2054585"/>
                  </a:cubicBezTo>
                  <a:cubicBezTo>
                    <a:pt x="697204" y="2054738"/>
                    <a:pt x="697978" y="2054878"/>
                    <a:pt x="698753" y="2055017"/>
                  </a:cubicBezTo>
                  <a:cubicBezTo>
                    <a:pt x="699553" y="2055157"/>
                    <a:pt x="700341" y="2055284"/>
                    <a:pt x="701140" y="2055424"/>
                  </a:cubicBezTo>
                  <a:cubicBezTo>
                    <a:pt x="701953" y="2055551"/>
                    <a:pt x="702766" y="2055678"/>
                    <a:pt x="703592" y="2055805"/>
                  </a:cubicBezTo>
                  <a:cubicBezTo>
                    <a:pt x="704417" y="2055919"/>
                    <a:pt x="705255" y="2056033"/>
                    <a:pt x="706081" y="2056147"/>
                  </a:cubicBezTo>
                  <a:cubicBezTo>
                    <a:pt x="706932" y="2056262"/>
                    <a:pt x="707783" y="2056363"/>
                    <a:pt x="708646" y="2056465"/>
                  </a:cubicBezTo>
                  <a:cubicBezTo>
                    <a:pt x="709510" y="2056554"/>
                    <a:pt x="710373" y="2056656"/>
                    <a:pt x="711250" y="2056732"/>
                  </a:cubicBezTo>
                  <a:cubicBezTo>
                    <a:pt x="712139" y="2056821"/>
                    <a:pt x="713028" y="2056897"/>
                    <a:pt x="713917" y="2056960"/>
                  </a:cubicBezTo>
                  <a:cubicBezTo>
                    <a:pt x="714831" y="2057037"/>
                    <a:pt x="715733" y="2057100"/>
                    <a:pt x="716634" y="2057151"/>
                  </a:cubicBezTo>
                  <a:cubicBezTo>
                    <a:pt x="717562" y="2057202"/>
                    <a:pt x="718489" y="2057240"/>
                    <a:pt x="719416" y="2057265"/>
                  </a:cubicBezTo>
                  <a:cubicBezTo>
                    <a:pt x="720356" y="2057303"/>
                    <a:pt x="721308" y="2057316"/>
                    <a:pt x="722248" y="2057329"/>
                  </a:cubicBezTo>
                  <a:cubicBezTo>
                    <a:pt x="722553" y="2057329"/>
                    <a:pt x="722883" y="2057329"/>
                    <a:pt x="723188" y="2057329"/>
                  </a:cubicBezTo>
                  <a:cubicBezTo>
                    <a:pt x="723835" y="2057329"/>
                    <a:pt x="724483" y="2057329"/>
                    <a:pt x="725131" y="2057316"/>
                  </a:cubicBezTo>
                  <a:cubicBezTo>
                    <a:pt x="726109" y="2057303"/>
                    <a:pt x="727099" y="2057265"/>
                    <a:pt x="728077" y="2057214"/>
                  </a:cubicBezTo>
                  <a:cubicBezTo>
                    <a:pt x="729081" y="2057163"/>
                    <a:pt x="730071" y="2057100"/>
                    <a:pt x="731062" y="2057024"/>
                  </a:cubicBezTo>
                  <a:cubicBezTo>
                    <a:pt x="732090" y="2056935"/>
                    <a:pt x="733106" y="2056833"/>
                    <a:pt x="734122" y="2056719"/>
                  </a:cubicBezTo>
                  <a:cubicBezTo>
                    <a:pt x="735164" y="2056592"/>
                    <a:pt x="736193" y="2056452"/>
                    <a:pt x="737221" y="2056287"/>
                  </a:cubicBezTo>
                  <a:cubicBezTo>
                    <a:pt x="739977" y="2055830"/>
                    <a:pt x="742657" y="2055220"/>
                    <a:pt x="745197" y="2054446"/>
                  </a:cubicBezTo>
                  <a:cubicBezTo>
                    <a:pt x="747546" y="2053722"/>
                    <a:pt x="749794" y="2052858"/>
                    <a:pt x="751902" y="2051817"/>
                  </a:cubicBezTo>
                  <a:cubicBezTo>
                    <a:pt x="753757" y="2050902"/>
                    <a:pt x="755522" y="2049861"/>
                    <a:pt x="757160" y="2048680"/>
                  </a:cubicBezTo>
                  <a:cubicBezTo>
                    <a:pt x="758646" y="2047601"/>
                    <a:pt x="760030" y="2046407"/>
                    <a:pt x="761300" y="2045086"/>
                  </a:cubicBezTo>
                  <a:cubicBezTo>
                    <a:pt x="761796" y="2044578"/>
                    <a:pt x="762253" y="2044070"/>
                    <a:pt x="762710" y="2043524"/>
                  </a:cubicBezTo>
                  <a:cubicBezTo>
                    <a:pt x="763777" y="2042241"/>
                    <a:pt x="764755" y="2040857"/>
                    <a:pt x="765618" y="2039358"/>
                  </a:cubicBezTo>
                  <a:cubicBezTo>
                    <a:pt x="779144" y="2015952"/>
                    <a:pt x="757617" y="1977954"/>
                    <a:pt x="737920" y="1955322"/>
                  </a:cubicBezTo>
                  <a:cubicBezTo>
                    <a:pt x="745159" y="1946953"/>
                    <a:pt x="752715" y="1938876"/>
                    <a:pt x="760576" y="1931116"/>
                  </a:cubicBezTo>
                  <a:cubicBezTo>
                    <a:pt x="761199" y="1930507"/>
                    <a:pt x="761821" y="1929897"/>
                    <a:pt x="762456" y="1929287"/>
                  </a:cubicBezTo>
                  <a:cubicBezTo>
                    <a:pt x="763078" y="1928665"/>
                    <a:pt x="763713" y="1928056"/>
                    <a:pt x="764348" y="1927446"/>
                  </a:cubicBezTo>
                  <a:cubicBezTo>
                    <a:pt x="764983" y="1926836"/>
                    <a:pt x="765618" y="1926227"/>
                    <a:pt x="766253" y="1925617"/>
                  </a:cubicBezTo>
                  <a:cubicBezTo>
                    <a:pt x="766901" y="1925008"/>
                    <a:pt x="767549" y="1924398"/>
                    <a:pt x="768196" y="1923788"/>
                  </a:cubicBezTo>
                  <a:cubicBezTo>
                    <a:pt x="768831" y="1923192"/>
                    <a:pt x="769479" y="1922595"/>
                    <a:pt x="770114" y="1921998"/>
                  </a:cubicBezTo>
                  <a:cubicBezTo>
                    <a:pt x="770762" y="1921388"/>
                    <a:pt x="771422" y="1920791"/>
                    <a:pt x="772070" y="1920194"/>
                  </a:cubicBezTo>
                  <a:cubicBezTo>
                    <a:pt x="772730" y="1919585"/>
                    <a:pt x="773391" y="1918988"/>
                    <a:pt x="774051" y="1918391"/>
                  </a:cubicBezTo>
                  <a:cubicBezTo>
                    <a:pt x="774711" y="1917807"/>
                    <a:pt x="775359" y="1917210"/>
                    <a:pt x="776020" y="1916638"/>
                  </a:cubicBezTo>
                  <a:cubicBezTo>
                    <a:pt x="776680" y="1916041"/>
                    <a:pt x="777353" y="1915445"/>
                    <a:pt x="778026" y="1914848"/>
                  </a:cubicBezTo>
                  <a:cubicBezTo>
                    <a:pt x="778674" y="1914276"/>
                    <a:pt x="779334" y="1913692"/>
                    <a:pt x="780007" y="1913121"/>
                  </a:cubicBezTo>
                  <a:cubicBezTo>
                    <a:pt x="781036" y="1912231"/>
                    <a:pt x="782065" y="1911330"/>
                    <a:pt x="783106" y="1910453"/>
                  </a:cubicBezTo>
                  <a:cubicBezTo>
                    <a:pt x="784440" y="1909310"/>
                    <a:pt x="785798" y="1908168"/>
                    <a:pt x="787157" y="1907037"/>
                  </a:cubicBezTo>
                  <a:cubicBezTo>
                    <a:pt x="788504" y="1905920"/>
                    <a:pt x="789875" y="1904789"/>
                    <a:pt x="791247" y="1903684"/>
                  </a:cubicBezTo>
                  <a:cubicBezTo>
                    <a:pt x="792618" y="1902580"/>
                    <a:pt x="793990" y="1901475"/>
                    <a:pt x="795374" y="1900382"/>
                  </a:cubicBezTo>
                  <a:cubicBezTo>
                    <a:pt x="796759" y="1899290"/>
                    <a:pt x="798156" y="1898198"/>
                    <a:pt x="799553" y="1897131"/>
                  </a:cubicBezTo>
                  <a:cubicBezTo>
                    <a:pt x="800950" y="1896052"/>
                    <a:pt x="802359" y="1894985"/>
                    <a:pt x="803769" y="1893918"/>
                  </a:cubicBezTo>
                  <a:cubicBezTo>
                    <a:pt x="805179" y="1892864"/>
                    <a:pt x="806601" y="1891810"/>
                    <a:pt x="808023" y="1890769"/>
                  </a:cubicBezTo>
                  <a:cubicBezTo>
                    <a:pt x="809459" y="1889727"/>
                    <a:pt x="810881" y="1888698"/>
                    <a:pt x="812316" y="1887682"/>
                  </a:cubicBezTo>
                  <a:cubicBezTo>
                    <a:pt x="813764" y="1886654"/>
                    <a:pt x="815199" y="1885651"/>
                    <a:pt x="816659" y="1884635"/>
                  </a:cubicBezTo>
                  <a:cubicBezTo>
                    <a:pt x="816748" y="1884584"/>
                    <a:pt x="816837" y="1884520"/>
                    <a:pt x="816926" y="1884457"/>
                  </a:cubicBezTo>
                  <a:cubicBezTo>
                    <a:pt x="821371" y="1889346"/>
                    <a:pt x="827658" y="1895798"/>
                    <a:pt x="835024" y="1902008"/>
                  </a:cubicBezTo>
                  <a:cubicBezTo>
                    <a:pt x="838059" y="1904586"/>
                    <a:pt x="841285" y="1907113"/>
                    <a:pt x="844638" y="1909476"/>
                  </a:cubicBezTo>
                  <a:cubicBezTo>
                    <a:pt x="846987" y="1911127"/>
                    <a:pt x="849400" y="1912701"/>
                    <a:pt x="851864" y="1914162"/>
                  </a:cubicBezTo>
                  <a:cubicBezTo>
                    <a:pt x="853820" y="1915318"/>
                    <a:pt x="855801" y="1916384"/>
                    <a:pt x="857807" y="1917362"/>
                  </a:cubicBezTo>
                  <a:cubicBezTo>
                    <a:pt x="859484" y="1918175"/>
                    <a:pt x="861173" y="1918924"/>
                    <a:pt x="862875" y="1919585"/>
                  </a:cubicBezTo>
                  <a:cubicBezTo>
                    <a:pt x="864335" y="1920156"/>
                    <a:pt x="865808" y="1920677"/>
                    <a:pt x="867294" y="1921109"/>
                  </a:cubicBezTo>
                  <a:cubicBezTo>
                    <a:pt x="868577" y="1921503"/>
                    <a:pt x="869872" y="1921833"/>
                    <a:pt x="871168" y="1922099"/>
                  </a:cubicBezTo>
                  <a:cubicBezTo>
                    <a:pt x="872311" y="1922341"/>
                    <a:pt x="873441" y="1922531"/>
                    <a:pt x="874571" y="1922684"/>
                  </a:cubicBezTo>
                  <a:cubicBezTo>
                    <a:pt x="875562" y="1922798"/>
                    <a:pt x="876553" y="1922887"/>
                    <a:pt x="877543" y="1922938"/>
                  </a:cubicBezTo>
                  <a:cubicBezTo>
                    <a:pt x="878114" y="1922963"/>
                    <a:pt x="878673" y="1922976"/>
                    <a:pt x="879245" y="1922976"/>
                  </a:cubicBezTo>
                  <a:cubicBezTo>
                    <a:pt x="879512" y="1922976"/>
                    <a:pt x="879778" y="1922976"/>
                    <a:pt x="880058" y="1922976"/>
                  </a:cubicBezTo>
                  <a:cubicBezTo>
                    <a:pt x="880718" y="1922950"/>
                    <a:pt x="881391" y="1922925"/>
                    <a:pt x="882052" y="1922861"/>
                  </a:cubicBezTo>
                  <a:cubicBezTo>
                    <a:pt x="882496" y="1922823"/>
                    <a:pt x="882941" y="1922785"/>
                    <a:pt x="883385" y="1922722"/>
                  </a:cubicBezTo>
                  <a:cubicBezTo>
                    <a:pt x="883474" y="1922709"/>
                    <a:pt x="883563" y="1922696"/>
                    <a:pt x="883652" y="1922684"/>
                  </a:cubicBezTo>
                  <a:cubicBezTo>
                    <a:pt x="887474" y="1922176"/>
                    <a:pt x="891234" y="1920944"/>
                    <a:pt x="894840" y="1918861"/>
                  </a:cubicBezTo>
                  <a:cubicBezTo>
                    <a:pt x="897584" y="1917273"/>
                    <a:pt x="899971" y="1915191"/>
                    <a:pt x="902067" y="1912689"/>
                  </a:cubicBezTo>
                  <a:cubicBezTo>
                    <a:pt x="916621" y="1895264"/>
                    <a:pt x="916443" y="1857977"/>
                    <a:pt x="916329" y="1834508"/>
                  </a:cubicBezTo>
                  <a:lnTo>
                    <a:pt x="915326" y="1713185"/>
                  </a:lnTo>
                  <a:lnTo>
                    <a:pt x="913814" y="1711432"/>
                  </a:lnTo>
                  <a:cubicBezTo>
                    <a:pt x="894117" y="1688369"/>
                    <a:pt x="853337" y="1652085"/>
                    <a:pt x="819288" y="1652085"/>
                  </a:cubicBezTo>
                  <a:cubicBezTo>
                    <a:pt x="812189" y="1652085"/>
                    <a:pt x="805382" y="1653673"/>
                    <a:pt x="799121" y="1657267"/>
                  </a:cubicBezTo>
                  <a:cubicBezTo>
                    <a:pt x="796873" y="1658575"/>
                    <a:pt x="794777" y="1660086"/>
                    <a:pt x="792847" y="1661788"/>
                  </a:cubicBezTo>
                  <a:cubicBezTo>
                    <a:pt x="791717" y="1662791"/>
                    <a:pt x="790637" y="1663858"/>
                    <a:pt x="789608" y="1664976"/>
                  </a:cubicBezTo>
                  <a:cubicBezTo>
                    <a:pt x="788542" y="1666144"/>
                    <a:pt x="787538" y="1667363"/>
                    <a:pt x="786586" y="1668659"/>
                  </a:cubicBezTo>
                  <a:cubicBezTo>
                    <a:pt x="785722" y="1669802"/>
                    <a:pt x="784910" y="1671008"/>
                    <a:pt x="784135" y="1672253"/>
                  </a:cubicBezTo>
                  <a:cubicBezTo>
                    <a:pt x="783424" y="1673396"/>
                    <a:pt x="782751" y="1674590"/>
                    <a:pt x="782103" y="1675809"/>
                  </a:cubicBezTo>
                  <a:cubicBezTo>
                    <a:pt x="781506" y="1676939"/>
                    <a:pt x="780934" y="1678108"/>
                    <a:pt x="780388" y="1679314"/>
                  </a:cubicBezTo>
                  <a:cubicBezTo>
                    <a:pt x="779868" y="1680432"/>
                    <a:pt x="779385" y="1681600"/>
                    <a:pt x="778915" y="1682781"/>
                  </a:cubicBezTo>
                  <a:cubicBezTo>
                    <a:pt x="778471" y="1683899"/>
                    <a:pt x="778051" y="1685042"/>
                    <a:pt x="777658" y="1686210"/>
                  </a:cubicBezTo>
                  <a:cubicBezTo>
                    <a:pt x="777277" y="1687328"/>
                    <a:pt x="776909" y="1688458"/>
                    <a:pt x="776566" y="1689601"/>
                  </a:cubicBezTo>
                  <a:cubicBezTo>
                    <a:pt x="776236" y="1690706"/>
                    <a:pt x="775918" y="1691836"/>
                    <a:pt x="775626" y="1692966"/>
                  </a:cubicBezTo>
                  <a:cubicBezTo>
                    <a:pt x="775346" y="1694059"/>
                    <a:pt x="775067" y="1695176"/>
                    <a:pt x="774813" y="1696294"/>
                  </a:cubicBezTo>
                  <a:cubicBezTo>
                    <a:pt x="774572" y="1697386"/>
                    <a:pt x="774343" y="1698478"/>
                    <a:pt x="774127" y="1699583"/>
                  </a:cubicBezTo>
                  <a:cubicBezTo>
                    <a:pt x="773911" y="1700663"/>
                    <a:pt x="773708" y="1701755"/>
                    <a:pt x="773530" y="1702860"/>
                  </a:cubicBezTo>
                  <a:cubicBezTo>
                    <a:pt x="773340" y="1703927"/>
                    <a:pt x="773175" y="1704993"/>
                    <a:pt x="773022" y="1706086"/>
                  </a:cubicBezTo>
                  <a:cubicBezTo>
                    <a:pt x="772870" y="1707140"/>
                    <a:pt x="772730" y="1708207"/>
                    <a:pt x="772603" y="1709286"/>
                  </a:cubicBezTo>
                  <a:cubicBezTo>
                    <a:pt x="772476" y="1710327"/>
                    <a:pt x="772362" y="1711382"/>
                    <a:pt x="772248" y="1712448"/>
                  </a:cubicBezTo>
                  <a:cubicBezTo>
                    <a:pt x="772146" y="1713477"/>
                    <a:pt x="772057" y="1714518"/>
                    <a:pt x="771968" y="1715572"/>
                  </a:cubicBezTo>
                  <a:cubicBezTo>
                    <a:pt x="771892" y="1716601"/>
                    <a:pt x="771816" y="1717630"/>
                    <a:pt x="771752" y="1718671"/>
                  </a:cubicBezTo>
                  <a:cubicBezTo>
                    <a:pt x="771689" y="1719687"/>
                    <a:pt x="771638" y="1720703"/>
                    <a:pt x="771600" y="1721732"/>
                  </a:cubicBezTo>
                  <a:cubicBezTo>
                    <a:pt x="771549" y="1722735"/>
                    <a:pt x="771511" y="1723751"/>
                    <a:pt x="771486" y="1724755"/>
                  </a:cubicBezTo>
                  <a:cubicBezTo>
                    <a:pt x="771460" y="1725758"/>
                    <a:pt x="771448" y="1726748"/>
                    <a:pt x="771435" y="1727752"/>
                  </a:cubicBezTo>
                  <a:cubicBezTo>
                    <a:pt x="771422" y="1728730"/>
                    <a:pt x="771409" y="1729720"/>
                    <a:pt x="771422" y="1730711"/>
                  </a:cubicBezTo>
                  <a:cubicBezTo>
                    <a:pt x="771422" y="1731676"/>
                    <a:pt x="771435" y="1732654"/>
                    <a:pt x="771448" y="1733632"/>
                  </a:cubicBezTo>
                  <a:cubicBezTo>
                    <a:pt x="771460" y="1734597"/>
                    <a:pt x="771486" y="1735550"/>
                    <a:pt x="771524" y="1736515"/>
                  </a:cubicBezTo>
                  <a:cubicBezTo>
                    <a:pt x="771549" y="1737467"/>
                    <a:pt x="771587" y="1738420"/>
                    <a:pt x="771625" y="1739359"/>
                  </a:cubicBezTo>
                  <a:cubicBezTo>
                    <a:pt x="771664" y="1740299"/>
                    <a:pt x="771714" y="1741239"/>
                    <a:pt x="771765" y="1742179"/>
                  </a:cubicBezTo>
                  <a:cubicBezTo>
                    <a:pt x="771816" y="1743106"/>
                    <a:pt x="771879" y="1744033"/>
                    <a:pt x="771943" y="1744947"/>
                  </a:cubicBezTo>
                  <a:cubicBezTo>
                    <a:pt x="772006" y="1745862"/>
                    <a:pt x="772070" y="1746776"/>
                    <a:pt x="772146" y="1747691"/>
                  </a:cubicBezTo>
                  <a:cubicBezTo>
                    <a:pt x="772222" y="1748592"/>
                    <a:pt x="772299" y="1749494"/>
                    <a:pt x="772387" y="1750383"/>
                  </a:cubicBezTo>
                  <a:cubicBezTo>
                    <a:pt x="772463" y="1751272"/>
                    <a:pt x="772552" y="1752161"/>
                    <a:pt x="772641" y="1753050"/>
                  </a:cubicBezTo>
                  <a:cubicBezTo>
                    <a:pt x="772743" y="1753926"/>
                    <a:pt x="772832" y="1754803"/>
                    <a:pt x="772933" y="1755666"/>
                  </a:cubicBezTo>
                  <a:cubicBezTo>
                    <a:pt x="773035" y="1756530"/>
                    <a:pt x="773137" y="1757393"/>
                    <a:pt x="773251" y="1758244"/>
                  </a:cubicBezTo>
                  <a:cubicBezTo>
                    <a:pt x="773353" y="1759108"/>
                    <a:pt x="773467" y="1759959"/>
                    <a:pt x="773581" y="1760797"/>
                  </a:cubicBezTo>
                  <a:cubicBezTo>
                    <a:pt x="773695" y="1761635"/>
                    <a:pt x="773822" y="1762473"/>
                    <a:pt x="773949" y="1763299"/>
                  </a:cubicBezTo>
                  <a:cubicBezTo>
                    <a:pt x="774064" y="1764125"/>
                    <a:pt x="774191" y="1764950"/>
                    <a:pt x="774330" y="1765763"/>
                  </a:cubicBezTo>
                  <a:cubicBezTo>
                    <a:pt x="774458" y="1766576"/>
                    <a:pt x="774584" y="1767376"/>
                    <a:pt x="774724" y="1768176"/>
                  </a:cubicBezTo>
                  <a:cubicBezTo>
                    <a:pt x="774864" y="1768976"/>
                    <a:pt x="775004" y="1769776"/>
                    <a:pt x="775143" y="1770551"/>
                  </a:cubicBezTo>
                  <a:cubicBezTo>
                    <a:pt x="775296" y="1771338"/>
                    <a:pt x="775435" y="1772125"/>
                    <a:pt x="775588" y="1772900"/>
                  </a:cubicBezTo>
                  <a:cubicBezTo>
                    <a:pt x="775740" y="1773662"/>
                    <a:pt x="775893" y="1774437"/>
                    <a:pt x="776045" y="1775186"/>
                  </a:cubicBezTo>
                  <a:cubicBezTo>
                    <a:pt x="728852" y="1791747"/>
                    <a:pt x="679677" y="1802034"/>
                    <a:pt x="629729" y="1805818"/>
                  </a:cubicBezTo>
                  <a:cubicBezTo>
                    <a:pt x="621778" y="1768760"/>
                    <a:pt x="598398" y="1707165"/>
                    <a:pt x="558583" y="1707165"/>
                  </a:cubicBezTo>
                  <a:cubicBezTo>
                    <a:pt x="545693" y="1707165"/>
                    <a:pt x="533615" y="1713744"/>
                    <a:pt x="522833" y="1723954"/>
                  </a:cubicBezTo>
                  <a:cubicBezTo>
                    <a:pt x="522528" y="1724234"/>
                    <a:pt x="522223" y="1724526"/>
                    <a:pt x="521919" y="1724818"/>
                  </a:cubicBezTo>
                  <a:cubicBezTo>
                    <a:pt x="520674" y="1726025"/>
                    <a:pt x="519442" y="1727295"/>
                    <a:pt x="518236" y="1728590"/>
                  </a:cubicBezTo>
                  <a:cubicBezTo>
                    <a:pt x="517080" y="1729834"/>
                    <a:pt x="515950" y="1731117"/>
                    <a:pt x="514819" y="1732425"/>
                  </a:cubicBezTo>
                  <a:cubicBezTo>
                    <a:pt x="513753" y="1733695"/>
                    <a:pt x="512686" y="1734991"/>
                    <a:pt x="511644" y="1736312"/>
                  </a:cubicBezTo>
                  <a:cubicBezTo>
                    <a:pt x="510641" y="1737594"/>
                    <a:pt x="509638" y="1738902"/>
                    <a:pt x="508660" y="1740236"/>
                  </a:cubicBezTo>
                  <a:cubicBezTo>
                    <a:pt x="507707" y="1741544"/>
                    <a:pt x="506768" y="1742865"/>
                    <a:pt x="505853" y="1744211"/>
                  </a:cubicBezTo>
                  <a:cubicBezTo>
                    <a:pt x="504951" y="1745519"/>
                    <a:pt x="504062" y="1746853"/>
                    <a:pt x="503186" y="1748211"/>
                  </a:cubicBezTo>
                  <a:cubicBezTo>
                    <a:pt x="502322" y="1749545"/>
                    <a:pt x="501484" y="1750891"/>
                    <a:pt x="500659" y="1752237"/>
                  </a:cubicBezTo>
                  <a:cubicBezTo>
                    <a:pt x="499833" y="1753584"/>
                    <a:pt x="499033" y="1754930"/>
                    <a:pt x="498246" y="1756301"/>
                  </a:cubicBezTo>
                  <a:cubicBezTo>
                    <a:pt x="497471" y="1757647"/>
                    <a:pt x="496709" y="1759006"/>
                    <a:pt x="495960" y="1760365"/>
                  </a:cubicBezTo>
                  <a:cubicBezTo>
                    <a:pt x="495211" y="1761724"/>
                    <a:pt x="494487" y="1763096"/>
                    <a:pt x="493775" y="1764467"/>
                  </a:cubicBezTo>
                  <a:cubicBezTo>
                    <a:pt x="493064" y="1765826"/>
                    <a:pt x="492366" y="1767198"/>
                    <a:pt x="491693" y="1768569"/>
                  </a:cubicBezTo>
                  <a:cubicBezTo>
                    <a:pt x="491020" y="1769954"/>
                    <a:pt x="490346" y="1771325"/>
                    <a:pt x="489699" y="1772710"/>
                  </a:cubicBezTo>
                  <a:cubicBezTo>
                    <a:pt x="489064" y="1774081"/>
                    <a:pt x="488429" y="1775465"/>
                    <a:pt x="487819" y="1776837"/>
                  </a:cubicBezTo>
                  <a:cubicBezTo>
                    <a:pt x="487197" y="1778234"/>
                    <a:pt x="486600" y="1779618"/>
                    <a:pt x="486016" y="1780990"/>
                  </a:cubicBezTo>
                  <a:cubicBezTo>
                    <a:pt x="485419" y="1782387"/>
                    <a:pt x="484847" y="1783771"/>
                    <a:pt x="484301" y="1785156"/>
                  </a:cubicBezTo>
                  <a:cubicBezTo>
                    <a:pt x="483742" y="1786553"/>
                    <a:pt x="483196" y="1787950"/>
                    <a:pt x="482676" y="1789321"/>
                  </a:cubicBezTo>
                  <a:cubicBezTo>
                    <a:pt x="482142" y="1790731"/>
                    <a:pt x="481634" y="1792128"/>
                    <a:pt x="481152" y="1793512"/>
                  </a:cubicBezTo>
                  <a:cubicBezTo>
                    <a:pt x="480644" y="1794922"/>
                    <a:pt x="480161" y="1796319"/>
                    <a:pt x="479704" y="1797703"/>
                  </a:cubicBezTo>
                  <a:cubicBezTo>
                    <a:pt x="430479" y="1788521"/>
                    <a:pt x="382727" y="1772900"/>
                    <a:pt x="337578" y="1751221"/>
                  </a:cubicBezTo>
                  <a:cubicBezTo>
                    <a:pt x="349262" y="1715128"/>
                    <a:pt x="359880" y="1650041"/>
                    <a:pt x="325348" y="1630114"/>
                  </a:cubicBezTo>
                  <a:cubicBezTo>
                    <a:pt x="318719" y="1626279"/>
                    <a:pt x="311150" y="1624603"/>
                    <a:pt x="303085" y="1624603"/>
                  </a:cubicBezTo>
                  <a:cubicBezTo>
                    <a:pt x="272961" y="1624603"/>
                    <a:pt x="235611" y="1647882"/>
                    <a:pt x="211836" y="1668989"/>
                  </a:cubicBezTo>
                  <a:cubicBezTo>
                    <a:pt x="173813" y="1636350"/>
                    <a:pt x="140272" y="1598974"/>
                    <a:pt x="112014" y="1557763"/>
                  </a:cubicBezTo>
                  <a:cubicBezTo>
                    <a:pt x="113284" y="1556607"/>
                    <a:pt x="114580" y="1555413"/>
                    <a:pt x="115888" y="1554169"/>
                  </a:cubicBezTo>
                  <a:cubicBezTo>
                    <a:pt x="117132" y="1552975"/>
                    <a:pt x="118402" y="1551743"/>
                    <a:pt x="119685" y="1550473"/>
                  </a:cubicBezTo>
                  <a:cubicBezTo>
                    <a:pt x="120536" y="1549635"/>
                    <a:pt x="121400" y="1548771"/>
                    <a:pt x="122263" y="1547895"/>
                  </a:cubicBezTo>
                  <a:cubicBezTo>
                    <a:pt x="148959" y="1520641"/>
                    <a:pt x="179413" y="1477207"/>
                    <a:pt x="161862" y="1446778"/>
                  </a:cubicBezTo>
                  <a:cubicBezTo>
                    <a:pt x="149898" y="1426039"/>
                    <a:pt x="119647" y="1419079"/>
                    <a:pt x="89091" y="1419079"/>
                  </a:cubicBezTo>
                  <a:cubicBezTo>
                    <a:pt x="73318" y="1419079"/>
                    <a:pt x="57455" y="1420933"/>
                    <a:pt x="43993" y="1423714"/>
                  </a:cubicBezTo>
                  <a:cubicBezTo>
                    <a:pt x="27420" y="1376598"/>
                    <a:pt x="17120" y="1327436"/>
                    <a:pt x="13323" y="1277386"/>
                  </a:cubicBezTo>
                  <a:cubicBezTo>
                    <a:pt x="14618" y="1277119"/>
                    <a:pt x="15939" y="1276814"/>
                    <a:pt x="17285" y="1276497"/>
                  </a:cubicBezTo>
                  <a:cubicBezTo>
                    <a:pt x="18594" y="1276192"/>
                    <a:pt x="19927" y="1275874"/>
                    <a:pt x="21286" y="1275531"/>
                  </a:cubicBezTo>
                  <a:cubicBezTo>
                    <a:pt x="22594" y="1275201"/>
                    <a:pt x="23927" y="1274858"/>
                    <a:pt x="25274" y="1274490"/>
                  </a:cubicBezTo>
                  <a:cubicBezTo>
                    <a:pt x="26594" y="1274134"/>
                    <a:pt x="27928" y="1273766"/>
                    <a:pt x="29274" y="1273372"/>
                  </a:cubicBezTo>
                  <a:cubicBezTo>
                    <a:pt x="30595" y="1272991"/>
                    <a:pt x="31928" y="1272598"/>
                    <a:pt x="33275" y="1272191"/>
                  </a:cubicBezTo>
                  <a:cubicBezTo>
                    <a:pt x="34595" y="1271785"/>
                    <a:pt x="35942" y="1271366"/>
                    <a:pt x="37275" y="1270934"/>
                  </a:cubicBezTo>
                  <a:cubicBezTo>
                    <a:pt x="38609" y="1270502"/>
                    <a:pt x="39942" y="1270058"/>
                    <a:pt x="41288" y="1269598"/>
                  </a:cubicBezTo>
                  <a:cubicBezTo>
                    <a:pt x="42622" y="1269142"/>
                    <a:pt x="43968" y="1268661"/>
                    <a:pt x="45301" y="1268179"/>
                  </a:cubicBezTo>
                  <a:cubicBezTo>
                    <a:pt x="46635" y="1267693"/>
                    <a:pt x="47981" y="1267203"/>
                    <a:pt x="49315" y="1266682"/>
                  </a:cubicBezTo>
                  <a:cubicBezTo>
                    <a:pt x="50648" y="1266170"/>
                    <a:pt x="51982" y="1265639"/>
                    <a:pt x="53328" y="1265103"/>
                  </a:cubicBezTo>
                  <a:cubicBezTo>
                    <a:pt x="54661" y="1264559"/>
                    <a:pt x="55995" y="1263997"/>
                    <a:pt x="57328" y="1263427"/>
                  </a:cubicBezTo>
                  <a:cubicBezTo>
                    <a:pt x="58662" y="1262841"/>
                    <a:pt x="60008" y="1262261"/>
                    <a:pt x="61329" y="1261652"/>
                  </a:cubicBezTo>
                  <a:cubicBezTo>
                    <a:pt x="62675" y="1261041"/>
                    <a:pt x="64008" y="1260406"/>
                    <a:pt x="65329" y="1259755"/>
                  </a:cubicBezTo>
                  <a:cubicBezTo>
                    <a:pt x="66663" y="1259111"/>
                    <a:pt x="67996" y="1258451"/>
                    <a:pt x="69304" y="1257767"/>
                  </a:cubicBezTo>
                  <a:cubicBezTo>
                    <a:pt x="70651" y="1257067"/>
                    <a:pt x="71971" y="1256353"/>
                    <a:pt x="73280" y="1255628"/>
                  </a:cubicBezTo>
                  <a:cubicBezTo>
                    <a:pt x="74626" y="1254880"/>
                    <a:pt x="75934" y="1254131"/>
                    <a:pt x="77229" y="1253356"/>
                  </a:cubicBezTo>
                  <a:cubicBezTo>
                    <a:pt x="78575" y="1252557"/>
                    <a:pt x="79883" y="1251729"/>
                    <a:pt x="81179" y="1250906"/>
                  </a:cubicBezTo>
                  <a:cubicBezTo>
                    <a:pt x="82512" y="1250042"/>
                    <a:pt x="83820" y="1249155"/>
                    <a:pt x="85090" y="1248252"/>
                  </a:cubicBezTo>
                  <a:cubicBezTo>
                    <a:pt x="86411" y="1247323"/>
                    <a:pt x="87707" y="1246371"/>
                    <a:pt x="88964" y="1245394"/>
                  </a:cubicBezTo>
                  <a:cubicBezTo>
                    <a:pt x="90285" y="1244367"/>
                    <a:pt x="91567" y="1243310"/>
                    <a:pt x="92812" y="1242235"/>
                  </a:cubicBezTo>
                  <a:cubicBezTo>
                    <a:pt x="94120" y="1241103"/>
                    <a:pt x="95390" y="1239932"/>
                    <a:pt x="96597" y="1238742"/>
                  </a:cubicBezTo>
                  <a:cubicBezTo>
                    <a:pt x="97346" y="1238003"/>
                    <a:pt x="98082" y="1237243"/>
                    <a:pt x="98781" y="1236479"/>
                  </a:cubicBezTo>
                  <a:cubicBezTo>
                    <a:pt x="106884" y="1227753"/>
                    <a:pt x="111938" y="1217697"/>
                    <a:pt x="111938" y="1206277"/>
                  </a:cubicBezTo>
                  <a:cubicBezTo>
                    <a:pt x="111976" y="1169968"/>
                    <a:pt x="59741" y="1140073"/>
                    <a:pt x="21425" y="1127358"/>
                  </a:cubicBezTo>
                  <a:cubicBezTo>
                    <a:pt x="30608" y="1078161"/>
                    <a:pt x="46241" y="1030422"/>
                    <a:pt x="67920" y="985274"/>
                  </a:cubicBezTo>
                  <a:cubicBezTo>
                    <a:pt x="68479" y="985467"/>
                    <a:pt x="69050" y="985641"/>
                    <a:pt x="69635" y="985818"/>
                  </a:cubicBezTo>
                  <a:cubicBezTo>
                    <a:pt x="70206" y="986013"/>
                    <a:pt x="70790" y="986185"/>
                    <a:pt x="71387" y="986364"/>
                  </a:cubicBezTo>
                  <a:cubicBezTo>
                    <a:pt x="71971" y="986543"/>
                    <a:pt x="72581" y="986737"/>
                    <a:pt x="73178" y="986911"/>
                  </a:cubicBezTo>
                  <a:cubicBezTo>
                    <a:pt x="73787" y="987088"/>
                    <a:pt x="74410" y="987267"/>
                    <a:pt x="75032" y="987445"/>
                  </a:cubicBezTo>
                  <a:cubicBezTo>
                    <a:pt x="75654" y="987624"/>
                    <a:pt x="76277" y="987803"/>
                    <a:pt x="76912" y="987976"/>
                  </a:cubicBezTo>
                  <a:cubicBezTo>
                    <a:pt x="77547" y="988155"/>
                    <a:pt x="78194" y="988334"/>
                    <a:pt x="78842" y="988512"/>
                  </a:cubicBezTo>
                  <a:cubicBezTo>
                    <a:pt x="79490" y="988691"/>
                    <a:pt x="80150" y="988870"/>
                    <a:pt x="80823" y="989033"/>
                  </a:cubicBezTo>
                  <a:cubicBezTo>
                    <a:pt x="81484" y="989212"/>
                    <a:pt x="82157" y="989391"/>
                    <a:pt x="82830" y="989555"/>
                  </a:cubicBezTo>
                  <a:cubicBezTo>
                    <a:pt x="83516" y="989732"/>
                    <a:pt x="84201" y="989896"/>
                    <a:pt x="84887" y="990060"/>
                  </a:cubicBezTo>
                  <a:cubicBezTo>
                    <a:pt x="85586" y="990239"/>
                    <a:pt x="86284" y="990403"/>
                    <a:pt x="86995" y="990571"/>
                  </a:cubicBezTo>
                  <a:cubicBezTo>
                    <a:pt x="87707" y="990735"/>
                    <a:pt x="88418" y="990898"/>
                    <a:pt x="89142" y="991067"/>
                  </a:cubicBezTo>
                  <a:cubicBezTo>
                    <a:pt x="89866" y="991231"/>
                    <a:pt x="90590" y="991385"/>
                    <a:pt x="91326" y="991549"/>
                  </a:cubicBezTo>
                  <a:cubicBezTo>
                    <a:pt x="92063" y="991712"/>
                    <a:pt x="92812" y="991866"/>
                    <a:pt x="93561" y="992020"/>
                  </a:cubicBezTo>
                  <a:cubicBezTo>
                    <a:pt x="94311" y="992168"/>
                    <a:pt x="95060" y="992322"/>
                    <a:pt x="95822" y="992476"/>
                  </a:cubicBezTo>
                  <a:cubicBezTo>
                    <a:pt x="96597" y="992625"/>
                    <a:pt x="97371" y="992779"/>
                    <a:pt x="98133" y="992918"/>
                  </a:cubicBezTo>
                  <a:cubicBezTo>
                    <a:pt x="98921" y="993071"/>
                    <a:pt x="99708" y="993211"/>
                    <a:pt x="100495" y="993349"/>
                  </a:cubicBezTo>
                  <a:cubicBezTo>
                    <a:pt x="101296" y="993488"/>
                    <a:pt x="102096" y="993633"/>
                    <a:pt x="102896" y="993756"/>
                  </a:cubicBezTo>
                  <a:cubicBezTo>
                    <a:pt x="103709" y="993895"/>
                    <a:pt x="104521" y="994024"/>
                    <a:pt x="105334" y="994153"/>
                  </a:cubicBezTo>
                  <a:cubicBezTo>
                    <a:pt x="106160" y="994276"/>
                    <a:pt x="106985" y="994406"/>
                    <a:pt x="107811" y="994520"/>
                  </a:cubicBezTo>
                  <a:cubicBezTo>
                    <a:pt x="108649" y="994635"/>
                    <a:pt x="109487" y="994758"/>
                    <a:pt x="110325" y="994862"/>
                  </a:cubicBezTo>
                  <a:cubicBezTo>
                    <a:pt x="111176" y="994976"/>
                    <a:pt x="112040" y="995075"/>
                    <a:pt x="112891" y="995179"/>
                  </a:cubicBezTo>
                  <a:cubicBezTo>
                    <a:pt x="113754" y="995278"/>
                    <a:pt x="114631" y="995383"/>
                    <a:pt x="115494" y="995473"/>
                  </a:cubicBezTo>
                  <a:cubicBezTo>
                    <a:pt x="116383" y="995572"/>
                    <a:pt x="117260" y="995651"/>
                    <a:pt x="118136" y="995741"/>
                  </a:cubicBezTo>
                  <a:cubicBezTo>
                    <a:pt x="119025" y="995814"/>
                    <a:pt x="119926" y="995889"/>
                    <a:pt x="120828" y="995968"/>
                  </a:cubicBezTo>
                  <a:cubicBezTo>
                    <a:pt x="121730" y="996028"/>
                    <a:pt x="122631" y="996093"/>
                    <a:pt x="123546" y="996147"/>
                  </a:cubicBezTo>
                  <a:cubicBezTo>
                    <a:pt x="124473" y="996207"/>
                    <a:pt x="125387" y="996261"/>
                    <a:pt x="126315" y="996296"/>
                  </a:cubicBezTo>
                  <a:cubicBezTo>
                    <a:pt x="127242" y="996335"/>
                    <a:pt x="128182" y="996376"/>
                    <a:pt x="129121" y="996400"/>
                  </a:cubicBezTo>
                  <a:cubicBezTo>
                    <a:pt x="130074" y="996425"/>
                    <a:pt x="131013" y="996435"/>
                    <a:pt x="131953" y="996449"/>
                  </a:cubicBezTo>
                  <a:cubicBezTo>
                    <a:pt x="132385" y="996449"/>
                    <a:pt x="132804" y="996449"/>
                    <a:pt x="133223" y="996449"/>
                  </a:cubicBezTo>
                  <a:cubicBezTo>
                    <a:pt x="133770" y="996449"/>
                    <a:pt x="134303" y="996449"/>
                    <a:pt x="134849" y="996449"/>
                  </a:cubicBezTo>
                  <a:cubicBezTo>
                    <a:pt x="135827" y="996435"/>
                    <a:pt x="136792" y="996410"/>
                    <a:pt x="137770" y="996386"/>
                  </a:cubicBezTo>
                  <a:cubicBezTo>
                    <a:pt x="138760" y="996345"/>
                    <a:pt x="139751" y="996311"/>
                    <a:pt x="140742" y="996246"/>
                  </a:cubicBezTo>
                  <a:cubicBezTo>
                    <a:pt x="141745" y="996197"/>
                    <a:pt x="142748" y="996118"/>
                    <a:pt x="143752" y="996043"/>
                  </a:cubicBezTo>
                  <a:cubicBezTo>
                    <a:pt x="144768" y="995954"/>
                    <a:pt x="145784" y="995855"/>
                    <a:pt x="146787" y="995751"/>
                  </a:cubicBezTo>
                  <a:cubicBezTo>
                    <a:pt x="147828" y="995637"/>
                    <a:pt x="148857" y="995512"/>
                    <a:pt x="149873" y="995359"/>
                  </a:cubicBezTo>
                  <a:cubicBezTo>
                    <a:pt x="150927" y="995205"/>
                    <a:pt x="151969" y="995041"/>
                    <a:pt x="152997" y="994862"/>
                  </a:cubicBezTo>
                  <a:cubicBezTo>
                    <a:pt x="155321" y="994456"/>
                    <a:pt x="157595" y="993959"/>
                    <a:pt x="159804" y="993373"/>
                  </a:cubicBezTo>
                  <a:cubicBezTo>
                    <a:pt x="162370" y="992689"/>
                    <a:pt x="164846" y="991876"/>
                    <a:pt x="167221" y="990938"/>
                  </a:cubicBezTo>
                  <a:cubicBezTo>
                    <a:pt x="169342" y="990086"/>
                    <a:pt x="171374" y="989133"/>
                    <a:pt x="173317" y="988066"/>
                  </a:cubicBezTo>
                  <a:cubicBezTo>
                    <a:pt x="175082" y="987078"/>
                    <a:pt x="176784" y="985997"/>
                    <a:pt x="178384" y="984816"/>
                  </a:cubicBezTo>
                  <a:cubicBezTo>
                    <a:pt x="179858" y="983725"/>
                    <a:pt x="181267" y="982529"/>
                    <a:pt x="182588" y="981250"/>
                  </a:cubicBezTo>
                  <a:cubicBezTo>
                    <a:pt x="183325" y="980525"/>
                    <a:pt x="184023" y="979776"/>
                    <a:pt x="184709" y="978997"/>
                  </a:cubicBezTo>
                  <a:cubicBezTo>
                    <a:pt x="186296" y="977172"/>
                    <a:pt x="187732" y="975177"/>
                    <a:pt x="188989" y="973004"/>
                  </a:cubicBezTo>
                  <a:cubicBezTo>
                    <a:pt x="207137" y="941587"/>
                    <a:pt x="176899" y="889631"/>
                    <a:pt x="150114" y="859493"/>
                  </a:cubicBezTo>
                  <a:cubicBezTo>
                    <a:pt x="160122" y="847836"/>
                    <a:pt x="170587" y="836594"/>
                    <a:pt x="181471" y="825799"/>
                  </a:cubicBezTo>
                  <a:cubicBezTo>
                    <a:pt x="182144" y="825140"/>
                    <a:pt x="182804" y="824479"/>
                    <a:pt x="183477" y="823820"/>
                  </a:cubicBezTo>
                  <a:cubicBezTo>
                    <a:pt x="184150" y="823160"/>
                    <a:pt x="184823" y="822501"/>
                    <a:pt x="185496" y="821850"/>
                  </a:cubicBezTo>
                  <a:cubicBezTo>
                    <a:pt x="186106" y="821255"/>
                    <a:pt x="186728" y="820654"/>
                    <a:pt x="187338" y="820060"/>
                  </a:cubicBezTo>
                  <a:cubicBezTo>
                    <a:pt x="187998" y="819425"/>
                    <a:pt x="188659" y="818790"/>
                    <a:pt x="189319" y="818169"/>
                  </a:cubicBezTo>
                  <a:cubicBezTo>
                    <a:pt x="189941" y="817569"/>
                    <a:pt x="190564" y="816973"/>
                    <a:pt x="191186" y="816378"/>
                  </a:cubicBezTo>
                  <a:cubicBezTo>
                    <a:pt x="191834" y="815768"/>
                    <a:pt x="192481" y="815173"/>
                    <a:pt x="193129" y="814563"/>
                  </a:cubicBezTo>
                  <a:cubicBezTo>
                    <a:pt x="193790" y="813937"/>
                    <a:pt x="194450" y="813317"/>
                    <a:pt x="195110" y="812708"/>
                  </a:cubicBezTo>
                  <a:cubicBezTo>
                    <a:pt x="195745" y="812112"/>
                    <a:pt x="196393" y="811511"/>
                    <a:pt x="197028" y="810926"/>
                  </a:cubicBezTo>
                  <a:cubicBezTo>
                    <a:pt x="197688" y="810321"/>
                    <a:pt x="198362" y="809710"/>
                    <a:pt x="199022" y="809101"/>
                  </a:cubicBezTo>
                  <a:cubicBezTo>
                    <a:pt x="199670" y="808515"/>
                    <a:pt x="200305" y="807930"/>
                    <a:pt x="200952" y="807349"/>
                  </a:cubicBezTo>
                  <a:cubicBezTo>
                    <a:pt x="201613" y="806749"/>
                    <a:pt x="202273" y="806153"/>
                    <a:pt x="202934" y="805569"/>
                  </a:cubicBezTo>
                  <a:cubicBezTo>
                    <a:pt x="203607" y="804973"/>
                    <a:pt x="204280" y="804373"/>
                    <a:pt x="204953" y="803777"/>
                  </a:cubicBezTo>
                  <a:cubicBezTo>
                    <a:pt x="205600" y="803191"/>
                    <a:pt x="206261" y="802611"/>
                    <a:pt x="206921" y="802036"/>
                  </a:cubicBezTo>
                  <a:cubicBezTo>
                    <a:pt x="207594" y="801441"/>
                    <a:pt x="208268" y="800856"/>
                    <a:pt x="208953" y="800260"/>
                  </a:cubicBezTo>
                  <a:cubicBezTo>
                    <a:pt x="209601" y="799690"/>
                    <a:pt x="210261" y="799119"/>
                    <a:pt x="210934" y="798543"/>
                  </a:cubicBezTo>
                  <a:cubicBezTo>
                    <a:pt x="211976" y="797645"/>
                    <a:pt x="213017" y="796758"/>
                    <a:pt x="214071" y="795855"/>
                  </a:cubicBezTo>
                  <a:cubicBezTo>
                    <a:pt x="215417" y="794709"/>
                    <a:pt x="216764" y="793583"/>
                    <a:pt x="218123" y="792437"/>
                  </a:cubicBezTo>
                  <a:cubicBezTo>
                    <a:pt x="219482" y="791306"/>
                    <a:pt x="220840" y="790189"/>
                    <a:pt x="222199" y="789073"/>
                  </a:cubicBezTo>
                  <a:cubicBezTo>
                    <a:pt x="223571" y="787952"/>
                    <a:pt x="224942" y="786836"/>
                    <a:pt x="226327" y="785729"/>
                  </a:cubicBezTo>
                  <a:cubicBezTo>
                    <a:pt x="227698" y="784628"/>
                    <a:pt x="229083" y="783522"/>
                    <a:pt x="230467" y="782431"/>
                  </a:cubicBezTo>
                  <a:cubicBezTo>
                    <a:pt x="231851" y="781339"/>
                    <a:pt x="233248" y="780248"/>
                    <a:pt x="234645" y="779166"/>
                  </a:cubicBezTo>
                  <a:cubicBezTo>
                    <a:pt x="236042" y="778085"/>
                    <a:pt x="237452" y="777008"/>
                    <a:pt x="238862" y="775941"/>
                  </a:cubicBezTo>
                  <a:cubicBezTo>
                    <a:pt x="240259" y="774876"/>
                    <a:pt x="241668" y="773809"/>
                    <a:pt x="243091" y="772752"/>
                  </a:cubicBezTo>
                  <a:cubicBezTo>
                    <a:pt x="244513" y="771701"/>
                    <a:pt x="245923" y="770658"/>
                    <a:pt x="247358" y="769601"/>
                  </a:cubicBezTo>
                  <a:cubicBezTo>
                    <a:pt x="248780" y="768560"/>
                    <a:pt x="250215" y="767533"/>
                    <a:pt x="251651" y="766506"/>
                  </a:cubicBezTo>
                  <a:cubicBezTo>
                    <a:pt x="253086" y="765474"/>
                    <a:pt x="254533" y="764448"/>
                    <a:pt x="255981" y="763430"/>
                  </a:cubicBezTo>
                  <a:cubicBezTo>
                    <a:pt x="257429" y="762413"/>
                    <a:pt x="258877" y="761396"/>
                    <a:pt x="260337" y="760394"/>
                  </a:cubicBezTo>
                  <a:cubicBezTo>
                    <a:pt x="260680" y="760156"/>
                    <a:pt x="261036" y="759913"/>
                    <a:pt x="261379" y="759685"/>
                  </a:cubicBezTo>
                  <a:cubicBezTo>
                    <a:pt x="266497" y="765335"/>
                    <a:pt x="272656" y="771532"/>
                    <a:pt x="279514" y="777668"/>
                  </a:cubicBezTo>
                  <a:cubicBezTo>
                    <a:pt x="283324" y="781081"/>
                    <a:pt x="287350" y="784474"/>
                    <a:pt x="291541" y="787738"/>
                  </a:cubicBezTo>
                  <a:cubicBezTo>
                    <a:pt x="294462" y="790025"/>
                    <a:pt x="297459" y="792258"/>
                    <a:pt x="300520" y="794382"/>
                  </a:cubicBezTo>
                  <a:cubicBezTo>
                    <a:pt x="302958" y="796083"/>
                    <a:pt x="305448" y="797720"/>
                    <a:pt x="307950" y="799282"/>
                  </a:cubicBezTo>
                  <a:cubicBezTo>
                    <a:pt x="310058" y="800602"/>
                    <a:pt x="312179" y="801848"/>
                    <a:pt x="314325" y="803043"/>
                  </a:cubicBezTo>
                  <a:cubicBezTo>
                    <a:pt x="316179" y="804070"/>
                    <a:pt x="318046" y="805062"/>
                    <a:pt x="319926" y="805975"/>
                  </a:cubicBezTo>
                  <a:cubicBezTo>
                    <a:pt x="321577" y="806798"/>
                    <a:pt x="323240" y="807563"/>
                    <a:pt x="324891" y="808287"/>
                  </a:cubicBezTo>
                  <a:cubicBezTo>
                    <a:pt x="326390" y="808937"/>
                    <a:pt x="327876" y="809533"/>
                    <a:pt x="329362" y="810093"/>
                  </a:cubicBezTo>
                  <a:cubicBezTo>
                    <a:pt x="330695" y="810598"/>
                    <a:pt x="332029" y="811071"/>
                    <a:pt x="333362" y="811487"/>
                  </a:cubicBezTo>
                  <a:cubicBezTo>
                    <a:pt x="334556" y="811868"/>
                    <a:pt x="335750" y="812226"/>
                    <a:pt x="336931" y="812544"/>
                  </a:cubicBezTo>
                  <a:cubicBezTo>
                    <a:pt x="337998" y="812831"/>
                    <a:pt x="339064" y="813089"/>
                    <a:pt x="340118" y="813327"/>
                  </a:cubicBezTo>
                  <a:cubicBezTo>
                    <a:pt x="341046" y="813531"/>
                    <a:pt x="341960" y="813710"/>
                    <a:pt x="342887" y="813873"/>
                  </a:cubicBezTo>
                  <a:cubicBezTo>
                    <a:pt x="343675" y="814017"/>
                    <a:pt x="344462" y="814131"/>
                    <a:pt x="345237" y="814230"/>
                  </a:cubicBezTo>
                  <a:cubicBezTo>
                    <a:pt x="345872" y="814319"/>
                    <a:pt x="346507" y="814394"/>
                    <a:pt x="347129" y="814459"/>
                  </a:cubicBezTo>
                  <a:cubicBezTo>
                    <a:pt x="347586" y="814498"/>
                    <a:pt x="348031" y="814538"/>
                    <a:pt x="348488" y="814572"/>
                  </a:cubicBezTo>
                  <a:cubicBezTo>
                    <a:pt x="348716" y="814587"/>
                    <a:pt x="348945" y="814613"/>
                    <a:pt x="349174" y="814621"/>
                  </a:cubicBezTo>
                  <a:cubicBezTo>
                    <a:pt x="350177" y="814686"/>
                    <a:pt x="351193" y="814712"/>
                    <a:pt x="352184" y="814712"/>
                  </a:cubicBezTo>
                  <a:cubicBezTo>
                    <a:pt x="359283" y="814712"/>
                    <a:pt x="366077" y="813138"/>
                    <a:pt x="372326" y="809533"/>
                  </a:cubicBezTo>
                  <a:cubicBezTo>
                    <a:pt x="376110" y="807349"/>
                    <a:pt x="379425" y="804566"/>
                    <a:pt x="382333" y="801278"/>
                  </a:cubicBezTo>
                  <a:cubicBezTo>
                    <a:pt x="403644" y="777211"/>
                    <a:pt x="402590" y="726421"/>
                    <a:pt x="395402" y="691650"/>
                  </a:cubicBezTo>
                  <a:cubicBezTo>
                    <a:pt x="396799" y="691155"/>
                    <a:pt x="398196" y="690674"/>
                    <a:pt x="399605" y="690192"/>
                  </a:cubicBezTo>
                  <a:cubicBezTo>
                    <a:pt x="401002" y="689706"/>
                    <a:pt x="402399" y="689240"/>
                    <a:pt x="403809" y="688769"/>
                  </a:cubicBezTo>
                  <a:cubicBezTo>
                    <a:pt x="405193" y="688297"/>
                    <a:pt x="406590" y="687840"/>
                    <a:pt x="407987" y="687384"/>
                  </a:cubicBezTo>
                  <a:cubicBezTo>
                    <a:pt x="409371" y="686937"/>
                    <a:pt x="410756" y="686497"/>
                    <a:pt x="412127" y="686050"/>
                  </a:cubicBezTo>
                  <a:cubicBezTo>
                    <a:pt x="413512" y="685618"/>
                    <a:pt x="414883" y="685186"/>
                    <a:pt x="416267" y="684755"/>
                  </a:cubicBezTo>
                  <a:cubicBezTo>
                    <a:pt x="417639" y="684334"/>
                    <a:pt x="419011" y="683916"/>
                    <a:pt x="420382" y="683510"/>
                  </a:cubicBezTo>
                  <a:cubicBezTo>
                    <a:pt x="421741" y="683103"/>
                    <a:pt x="423113" y="682697"/>
                    <a:pt x="424472" y="682289"/>
                  </a:cubicBezTo>
                  <a:cubicBezTo>
                    <a:pt x="425831" y="681898"/>
                    <a:pt x="427189" y="681505"/>
                    <a:pt x="428548" y="681123"/>
                  </a:cubicBezTo>
                  <a:cubicBezTo>
                    <a:pt x="429895" y="680741"/>
                    <a:pt x="431241" y="680360"/>
                    <a:pt x="432587" y="679993"/>
                  </a:cubicBezTo>
                  <a:cubicBezTo>
                    <a:pt x="433920" y="679626"/>
                    <a:pt x="435267" y="679254"/>
                    <a:pt x="436600" y="678887"/>
                  </a:cubicBezTo>
                  <a:cubicBezTo>
                    <a:pt x="437934" y="678529"/>
                    <a:pt x="439254" y="678187"/>
                    <a:pt x="440588" y="677834"/>
                  </a:cubicBezTo>
                  <a:cubicBezTo>
                    <a:pt x="441909" y="677492"/>
                    <a:pt x="443230" y="677160"/>
                    <a:pt x="444550" y="676818"/>
                  </a:cubicBezTo>
                  <a:cubicBezTo>
                    <a:pt x="445858" y="676485"/>
                    <a:pt x="447179" y="676157"/>
                    <a:pt x="448487" y="675840"/>
                  </a:cubicBezTo>
                  <a:cubicBezTo>
                    <a:pt x="449783" y="675523"/>
                    <a:pt x="451078" y="675205"/>
                    <a:pt x="452374" y="674898"/>
                  </a:cubicBezTo>
                  <a:cubicBezTo>
                    <a:pt x="453656" y="674595"/>
                    <a:pt x="454952" y="674287"/>
                    <a:pt x="456247" y="674000"/>
                  </a:cubicBezTo>
                  <a:cubicBezTo>
                    <a:pt x="457517" y="673692"/>
                    <a:pt x="458787" y="673414"/>
                    <a:pt x="460057" y="673121"/>
                  </a:cubicBezTo>
                  <a:cubicBezTo>
                    <a:pt x="461327" y="672844"/>
                    <a:pt x="462584" y="672561"/>
                    <a:pt x="463842" y="672298"/>
                  </a:cubicBezTo>
                  <a:cubicBezTo>
                    <a:pt x="465099" y="672015"/>
                    <a:pt x="466344" y="671747"/>
                    <a:pt x="467588" y="671494"/>
                  </a:cubicBezTo>
                  <a:cubicBezTo>
                    <a:pt x="468820" y="671241"/>
                    <a:pt x="470052" y="670989"/>
                    <a:pt x="471284" y="670736"/>
                  </a:cubicBezTo>
                  <a:cubicBezTo>
                    <a:pt x="472503" y="670492"/>
                    <a:pt x="473710" y="670249"/>
                    <a:pt x="474929" y="670011"/>
                  </a:cubicBezTo>
                  <a:cubicBezTo>
                    <a:pt x="476122" y="669768"/>
                    <a:pt x="477329" y="669540"/>
                    <a:pt x="478523" y="669311"/>
                  </a:cubicBezTo>
                  <a:cubicBezTo>
                    <a:pt x="479704" y="669094"/>
                    <a:pt x="480885" y="668880"/>
                    <a:pt x="482066" y="668662"/>
                  </a:cubicBezTo>
                  <a:cubicBezTo>
                    <a:pt x="483222" y="668449"/>
                    <a:pt x="484377" y="668230"/>
                    <a:pt x="485533" y="668027"/>
                  </a:cubicBezTo>
                  <a:cubicBezTo>
                    <a:pt x="486676" y="667838"/>
                    <a:pt x="487807" y="667635"/>
                    <a:pt x="488937" y="667447"/>
                  </a:cubicBezTo>
                  <a:cubicBezTo>
                    <a:pt x="490054" y="667252"/>
                    <a:pt x="491159" y="667074"/>
                    <a:pt x="492277" y="666885"/>
                  </a:cubicBezTo>
                  <a:cubicBezTo>
                    <a:pt x="493356" y="666707"/>
                    <a:pt x="494436" y="666544"/>
                    <a:pt x="495515" y="666365"/>
                  </a:cubicBezTo>
                  <a:cubicBezTo>
                    <a:pt x="496569" y="666201"/>
                    <a:pt x="497624" y="666032"/>
                    <a:pt x="498678" y="665869"/>
                  </a:cubicBezTo>
                  <a:cubicBezTo>
                    <a:pt x="499694" y="665714"/>
                    <a:pt x="500722" y="665566"/>
                    <a:pt x="501738" y="665412"/>
                  </a:cubicBezTo>
                  <a:cubicBezTo>
                    <a:pt x="502716" y="665274"/>
                    <a:pt x="503694" y="665134"/>
                    <a:pt x="504672" y="664996"/>
                  </a:cubicBezTo>
                  <a:cubicBezTo>
                    <a:pt x="505612" y="664866"/>
                    <a:pt x="506552" y="664728"/>
                    <a:pt x="507491" y="664599"/>
                  </a:cubicBezTo>
                  <a:cubicBezTo>
                    <a:pt x="508380" y="664485"/>
                    <a:pt x="509269" y="664361"/>
                    <a:pt x="510146" y="664241"/>
                  </a:cubicBezTo>
                  <a:cubicBezTo>
                    <a:pt x="510984" y="664142"/>
                    <a:pt x="511809" y="664028"/>
                    <a:pt x="512648" y="663924"/>
                  </a:cubicBezTo>
                  <a:cubicBezTo>
                    <a:pt x="513410" y="663825"/>
                    <a:pt x="514159" y="663736"/>
                    <a:pt x="514921" y="663637"/>
                  </a:cubicBezTo>
                  <a:cubicBezTo>
                    <a:pt x="515607" y="663557"/>
                    <a:pt x="516280" y="663468"/>
                    <a:pt x="516953" y="663393"/>
                  </a:cubicBezTo>
                  <a:cubicBezTo>
                    <a:pt x="517524" y="663329"/>
                    <a:pt x="518096" y="663254"/>
                    <a:pt x="518680" y="663190"/>
                  </a:cubicBezTo>
                  <a:cubicBezTo>
                    <a:pt x="519112" y="663140"/>
                    <a:pt x="519544" y="663085"/>
                    <a:pt x="519975" y="663036"/>
                  </a:cubicBezTo>
                  <a:cubicBezTo>
                    <a:pt x="520229" y="663012"/>
                    <a:pt x="520471" y="662986"/>
                    <a:pt x="520712" y="662961"/>
                  </a:cubicBezTo>
                  <a:cubicBezTo>
                    <a:pt x="527697" y="662163"/>
                    <a:pt x="534695" y="661513"/>
                    <a:pt x="541718" y="660982"/>
                  </a:cubicBezTo>
                  <a:cubicBezTo>
                    <a:pt x="546391" y="682711"/>
                    <a:pt x="556374" y="712873"/>
                    <a:pt x="571855" y="734106"/>
                  </a:cubicBezTo>
                  <a:cubicBezTo>
                    <a:pt x="572058" y="734398"/>
                    <a:pt x="572274" y="734676"/>
                    <a:pt x="572477" y="734970"/>
                  </a:cubicBezTo>
                  <a:cubicBezTo>
                    <a:pt x="572706" y="735277"/>
                    <a:pt x="572934" y="735579"/>
                    <a:pt x="573176" y="735882"/>
                  </a:cubicBezTo>
                  <a:cubicBezTo>
                    <a:pt x="573417" y="736199"/>
                    <a:pt x="573671" y="736532"/>
                    <a:pt x="573925" y="736849"/>
                  </a:cubicBezTo>
                  <a:cubicBezTo>
                    <a:pt x="574192" y="737192"/>
                    <a:pt x="574458" y="737534"/>
                    <a:pt x="574725" y="737867"/>
                  </a:cubicBezTo>
                  <a:cubicBezTo>
                    <a:pt x="575017" y="738234"/>
                    <a:pt x="575309" y="738591"/>
                    <a:pt x="575601" y="738944"/>
                  </a:cubicBezTo>
                  <a:cubicBezTo>
                    <a:pt x="575919" y="739325"/>
                    <a:pt x="576224" y="739692"/>
                    <a:pt x="576541" y="740064"/>
                  </a:cubicBezTo>
                  <a:cubicBezTo>
                    <a:pt x="576884" y="740456"/>
                    <a:pt x="577214" y="740849"/>
                    <a:pt x="577557" y="741230"/>
                  </a:cubicBezTo>
                  <a:cubicBezTo>
                    <a:pt x="577925" y="741637"/>
                    <a:pt x="578294" y="742044"/>
                    <a:pt x="578662" y="742450"/>
                  </a:cubicBezTo>
                  <a:cubicBezTo>
                    <a:pt x="579056" y="742867"/>
                    <a:pt x="579449" y="743288"/>
                    <a:pt x="579856" y="743706"/>
                  </a:cubicBezTo>
                  <a:cubicBezTo>
                    <a:pt x="580288" y="744152"/>
                    <a:pt x="580719" y="744584"/>
                    <a:pt x="581151" y="745015"/>
                  </a:cubicBezTo>
                  <a:cubicBezTo>
                    <a:pt x="581621" y="745471"/>
                    <a:pt x="582078" y="745918"/>
                    <a:pt x="582561" y="746359"/>
                  </a:cubicBezTo>
                  <a:cubicBezTo>
                    <a:pt x="583056" y="746832"/>
                    <a:pt x="583577" y="747303"/>
                    <a:pt x="584085" y="747743"/>
                  </a:cubicBezTo>
                  <a:cubicBezTo>
                    <a:pt x="584644" y="748240"/>
                    <a:pt x="585202" y="748711"/>
                    <a:pt x="585774" y="749167"/>
                  </a:cubicBezTo>
                  <a:cubicBezTo>
                    <a:pt x="586384" y="749679"/>
                    <a:pt x="587006" y="750160"/>
                    <a:pt x="587641" y="750631"/>
                  </a:cubicBezTo>
                  <a:cubicBezTo>
                    <a:pt x="588314" y="751137"/>
                    <a:pt x="589013" y="751633"/>
                    <a:pt x="589711" y="752115"/>
                  </a:cubicBezTo>
                  <a:cubicBezTo>
                    <a:pt x="590486" y="752635"/>
                    <a:pt x="591260" y="753131"/>
                    <a:pt x="592048" y="753612"/>
                  </a:cubicBezTo>
                  <a:cubicBezTo>
                    <a:pt x="592937" y="754148"/>
                    <a:pt x="593839" y="754645"/>
                    <a:pt x="594740" y="755111"/>
                  </a:cubicBezTo>
                  <a:cubicBezTo>
                    <a:pt x="595782" y="755647"/>
                    <a:pt x="596836" y="756143"/>
                    <a:pt x="597915" y="756584"/>
                  </a:cubicBezTo>
                  <a:cubicBezTo>
                    <a:pt x="599198" y="757130"/>
                    <a:pt x="600506" y="757601"/>
                    <a:pt x="601827" y="757994"/>
                  </a:cubicBezTo>
                  <a:cubicBezTo>
                    <a:pt x="603579" y="758528"/>
                    <a:pt x="605370" y="758936"/>
                    <a:pt x="607199" y="759214"/>
                  </a:cubicBezTo>
                  <a:cubicBezTo>
                    <a:pt x="609040" y="759491"/>
                    <a:pt x="610933" y="759636"/>
                    <a:pt x="612863" y="759636"/>
                  </a:cubicBezTo>
                  <a:cubicBezTo>
                    <a:pt x="615454" y="759636"/>
                    <a:pt x="618007" y="759368"/>
                    <a:pt x="620521" y="758856"/>
                  </a:cubicBezTo>
                  <a:cubicBezTo>
                    <a:pt x="620839" y="758806"/>
                    <a:pt x="621143" y="758733"/>
                    <a:pt x="621448" y="758668"/>
                  </a:cubicBezTo>
                  <a:cubicBezTo>
                    <a:pt x="626312" y="757576"/>
                    <a:pt x="631037" y="755582"/>
                    <a:pt x="635583" y="752864"/>
                  </a:cubicBezTo>
                  <a:cubicBezTo>
                    <a:pt x="637691" y="751618"/>
                    <a:pt x="639749" y="750224"/>
                    <a:pt x="641781" y="748672"/>
                  </a:cubicBezTo>
                  <a:cubicBezTo>
                    <a:pt x="643394" y="747456"/>
                    <a:pt x="644981" y="746132"/>
                    <a:pt x="646543" y="744748"/>
                  </a:cubicBezTo>
                  <a:cubicBezTo>
                    <a:pt x="647902" y="743542"/>
                    <a:pt x="649248" y="742272"/>
                    <a:pt x="650569" y="740953"/>
                  </a:cubicBezTo>
                  <a:cubicBezTo>
                    <a:pt x="651192" y="740327"/>
                    <a:pt x="651814" y="739692"/>
                    <a:pt x="652436" y="739033"/>
                  </a:cubicBezTo>
                  <a:cubicBezTo>
                    <a:pt x="671626" y="718817"/>
                    <a:pt x="686294" y="687613"/>
                    <a:pt x="693444" y="663661"/>
                  </a:cubicBezTo>
                  <a:lnTo>
                    <a:pt x="693711" y="661846"/>
                  </a:lnTo>
                  <a:lnTo>
                    <a:pt x="693711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65E997-F191-F2F3-94F3-CFED7C09B89B}"/>
                </a:ext>
              </a:extLst>
            </p:cNvPr>
            <p:cNvSpPr/>
            <p:nvPr/>
          </p:nvSpPr>
          <p:spPr>
            <a:xfrm rot="5400000" flipV="1">
              <a:off x="1022845" y="6497857"/>
              <a:ext cx="248995" cy="248995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F33A1FE-3563-085B-0A0B-7EA5D9A959B9}"/>
                </a:ext>
              </a:extLst>
            </p:cNvPr>
            <p:cNvSpPr/>
            <p:nvPr/>
          </p:nvSpPr>
          <p:spPr>
            <a:xfrm rot="5400000" flipV="1">
              <a:off x="441866" y="6192717"/>
              <a:ext cx="378987" cy="378986"/>
            </a:xfrm>
            <a:prstGeom prst="ellipse">
              <a:avLst/>
            </a:prstGeom>
            <a:noFill/>
            <a:ln w="1271" cap="flat">
              <a:solidFill>
                <a:schemeClr val="bg1">
                  <a:lumMod val="8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" name="Slide Number Placeholder 4">
              <a:extLst>
                <a:ext uri="{FF2B5EF4-FFF2-40B4-BE49-F238E27FC236}">
                  <a16:creationId xmlns:a16="http://schemas.microsoft.com/office/drawing/2014/main" id="{DD9F3571-7043-71C5-A60C-E93907065383}"/>
                </a:ext>
              </a:extLst>
            </p:cNvPr>
            <p:cNvSpPr txBox="1">
              <a:spLocks/>
            </p:cNvSpPr>
            <p:nvPr/>
          </p:nvSpPr>
          <p:spPr>
            <a:xfrm>
              <a:off x="606420" y="6324442"/>
              <a:ext cx="64120" cy="12311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3AA4AE14-256E-4160-8E2D-F13F9E1D91E6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9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0C01FF23-C9D7-655E-0F01-5FB4AA6CD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579468"/>
            <a:ext cx="5588785" cy="861774"/>
          </a:xfrm>
        </p:spPr>
        <p:txBody>
          <a:bodyPr vert="horz"/>
          <a:lstStyle/>
          <a:p>
            <a:r>
              <a:rPr lang="en-US" sz="2800" dirty="0">
                <a:solidFill>
                  <a:schemeClr val="bg1"/>
                </a:solidFill>
              </a:rPr>
              <a:t>Education Sector (ETBs &amp; HEIs) - MAPP Data - Summary Chart </a:t>
            </a:r>
          </a:p>
        </p:txBody>
      </p:sp>
      <p:grpSp>
        <p:nvGrpSpPr>
          <p:cNvPr id="47" name="Graphic 45">
            <a:extLst>
              <a:ext uri="{FF2B5EF4-FFF2-40B4-BE49-F238E27FC236}">
                <a16:creationId xmlns:a16="http://schemas.microsoft.com/office/drawing/2014/main" id="{B3D39293-CB1A-FEB7-064B-213FD9D22928}"/>
              </a:ext>
            </a:extLst>
          </p:cNvPr>
          <p:cNvGrpSpPr/>
          <p:nvPr/>
        </p:nvGrpSpPr>
        <p:grpSpPr>
          <a:xfrm>
            <a:off x="4949314" y="595048"/>
            <a:ext cx="959857" cy="830614"/>
            <a:chOff x="9742784" y="-1048232"/>
            <a:chExt cx="1757934" cy="1435879"/>
          </a:xfrm>
          <a:solidFill>
            <a:srgbClr val="000000"/>
          </a:solidFill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314F153-DC73-C543-7A33-854B562CFC0D}"/>
                </a:ext>
              </a:extLst>
            </p:cNvPr>
            <p:cNvSpPr/>
            <p:nvPr/>
          </p:nvSpPr>
          <p:spPr>
            <a:xfrm>
              <a:off x="9742784" y="-1048232"/>
              <a:ext cx="1757934" cy="1435879"/>
            </a:xfrm>
            <a:custGeom>
              <a:avLst/>
              <a:gdLst>
                <a:gd name="connsiteX0" fmla="*/ 1690994 w 1757934"/>
                <a:gd name="connsiteY0" fmla="*/ 325868 h 1435879"/>
                <a:gd name="connsiteX1" fmla="*/ 977652 w 1757934"/>
                <a:gd name="connsiteY1" fmla="*/ 20143 h 1435879"/>
                <a:gd name="connsiteX2" fmla="*/ 780175 w 1757934"/>
                <a:gd name="connsiteY2" fmla="*/ 20195 h 1435879"/>
                <a:gd name="connsiteX3" fmla="*/ 66987 w 1757934"/>
                <a:gd name="connsiteY3" fmla="*/ 325850 h 1435879"/>
                <a:gd name="connsiteX4" fmla="*/ 0 w 1757934"/>
                <a:gd name="connsiteY4" fmla="*/ 427423 h 1435879"/>
                <a:gd name="connsiteX5" fmla="*/ 66945 w 1757934"/>
                <a:gd name="connsiteY5" fmla="*/ 528943 h 1435879"/>
                <a:gd name="connsiteX6" fmla="*/ 151249 w 1757934"/>
                <a:gd name="connsiteY6" fmla="*/ 565076 h 1435879"/>
                <a:gd name="connsiteX7" fmla="*/ 151116 w 1757934"/>
                <a:gd name="connsiteY7" fmla="*/ 567721 h 1435879"/>
                <a:gd name="connsiteX8" fmla="*/ 151116 w 1757934"/>
                <a:gd name="connsiteY8" fmla="*/ 966667 h 1435879"/>
                <a:gd name="connsiteX9" fmla="*/ 94992 w 1757934"/>
                <a:gd name="connsiteY9" fmla="*/ 1044769 h 1435879"/>
                <a:gd name="connsiteX10" fmla="*/ 115909 w 1757934"/>
                <a:gd name="connsiteY10" fmla="*/ 1099563 h 1435879"/>
                <a:gd name="connsiteX11" fmla="*/ 90018 w 1757934"/>
                <a:gd name="connsiteY11" fmla="*/ 1154403 h 1435879"/>
                <a:gd name="connsiteX12" fmla="*/ 69821 w 1757934"/>
                <a:gd name="connsiteY12" fmla="*/ 1376588 h 1435879"/>
                <a:gd name="connsiteX13" fmla="*/ 83820 w 1757934"/>
                <a:gd name="connsiteY13" fmla="*/ 1418172 h 1435879"/>
                <a:gd name="connsiteX14" fmla="*/ 123966 w 1757934"/>
                <a:gd name="connsiteY14" fmla="*/ 1435879 h 1435879"/>
                <a:gd name="connsiteX15" fmla="*/ 230878 w 1757934"/>
                <a:gd name="connsiteY15" fmla="*/ 1435879 h 1435879"/>
                <a:gd name="connsiteX16" fmla="*/ 271023 w 1757934"/>
                <a:gd name="connsiteY16" fmla="*/ 1418172 h 1435879"/>
                <a:gd name="connsiteX17" fmla="*/ 285023 w 1757934"/>
                <a:gd name="connsiteY17" fmla="*/ 1376588 h 1435879"/>
                <a:gd name="connsiteX18" fmla="*/ 264825 w 1757934"/>
                <a:gd name="connsiteY18" fmla="*/ 1154403 h 1435879"/>
                <a:gd name="connsiteX19" fmla="*/ 238935 w 1757934"/>
                <a:gd name="connsiteY19" fmla="*/ 1099563 h 1435879"/>
                <a:gd name="connsiteX20" fmla="*/ 259851 w 1757934"/>
                <a:gd name="connsiteY20" fmla="*/ 1044769 h 1435879"/>
                <a:gd name="connsiteX21" fmla="*/ 203728 w 1757934"/>
                <a:gd name="connsiteY21" fmla="*/ 966667 h 1435879"/>
                <a:gd name="connsiteX22" fmla="*/ 203728 w 1757934"/>
                <a:gd name="connsiteY22" fmla="*/ 587567 h 1435879"/>
                <a:gd name="connsiteX23" fmla="*/ 347677 w 1757934"/>
                <a:gd name="connsiteY23" fmla="*/ 649261 h 1435879"/>
                <a:gd name="connsiteX24" fmla="*/ 347544 w 1757934"/>
                <a:gd name="connsiteY24" fmla="*/ 651902 h 1435879"/>
                <a:gd name="connsiteX25" fmla="*/ 347544 w 1757934"/>
                <a:gd name="connsiteY25" fmla="*/ 852764 h 1435879"/>
                <a:gd name="connsiteX26" fmla="*/ 509176 w 1757934"/>
                <a:gd name="connsiteY26" fmla="*/ 1071140 h 1435879"/>
                <a:gd name="connsiteX27" fmla="*/ 878962 w 1757934"/>
                <a:gd name="connsiteY27" fmla="*/ 1155259 h 1435879"/>
                <a:gd name="connsiteX28" fmla="*/ 1248749 w 1757934"/>
                <a:gd name="connsiteY28" fmla="*/ 1071140 h 1435879"/>
                <a:gd name="connsiteX29" fmla="*/ 1410380 w 1757934"/>
                <a:gd name="connsiteY29" fmla="*/ 852764 h 1435879"/>
                <a:gd name="connsiteX30" fmla="*/ 1410380 w 1757934"/>
                <a:gd name="connsiteY30" fmla="*/ 651902 h 1435879"/>
                <a:gd name="connsiteX31" fmla="*/ 1410247 w 1757934"/>
                <a:gd name="connsiteY31" fmla="*/ 649265 h 1435879"/>
                <a:gd name="connsiteX32" fmla="*/ 1690948 w 1757934"/>
                <a:gd name="connsiteY32" fmla="*/ 528964 h 1435879"/>
                <a:gd name="connsiteX33" fmla="*/ 1757935 w 1757934"/>
                <a:gd name="connsiteY33" fmla="*/ 427388 h 1435879"/>
                <a:gd name="connsiteX34" fmla="*/ 1690994 w 1757934"/>
                <a:gd name="connsiteY34" fmla="*/ 325868 h 1435879"/>
                <a:gd name="connsiteX35" fmla="*/ 232172 w 1757934"/>
                <a:gd name="connsiteY35" fmla="*/ 1382692 h 1435879"/>
                <a:gd name="connsiteX36" fmla="*/ 230878 w 1757934"/>
                <a:gd name="connsiteY36" fmla="*/ 1383264 h 1435879"/>
                <a:gd name="connsiteX37" fmla="*/ 123966 w 1757934"/>
                <a:gd name="connsiteY37" fmla="*/ 1383264 h 1435879"/>
                <a:gd name="connsiteX38" fmla="*/ 122672 w 1757934"/>
                <a:gd name="connsiteY38" fmla="*/ 1382692 h 1435879"/>
                <a:gd name="connsiteX39" fmla="*/ 122219 w 1757934"/>
                <a:gd name="connsiteY39" fmla="*/ 1381352 h 1435879"/>
                <a:gd name="connsiteX40" fmla="*/ 142417 w 1757934"/>
                <a:gd name="connsiteY40" fmla="*/ 1159166 h 1435879"/>
                <a:gd name="connsiteX41" fmla="*/ 177424 w 1757934"/>
                <a:gd name="connsiteY41" fmla="*/ 1127201 h 1435879"/>
                <a:gd name="connsiteX42" fmla="*/ 212427 w 1757934"/>
                <a:gd name="connsiteY42" fmla="*/ 1159166 h 1435879"/>
                <a:gd name="connsiteX43" fmla="*/ 232624 w 1757934"/>
                <a:gd name="connsiteY43" fmla="*/ 1381348 h 1435879"/>
                <a:gd name="connsiteX44" fmla="*/ 232172 w 1757934"/>
                <a:gd name="connsiteY44" fmla="*/ 1382692 h 1435879"/>
                <a:gd name="connsiteX45" fmla="*/ 177424 w 1757934"/>
                <a:gd name="connsiteY45" fmla="*/ 1074585 h 1435879"/>
                <a:gd name="connsiteX46" fmla="*/ 147608 w 1757934"/>
                <a:gd name="connsiteY46" fmla="*/ 1044769 h 1435879"/>
                <a:gd name="connsiteX47" fmla="*/ 177424 w 1757934"/>
                <a:gd name="connsiteY47" fmla="*/ 1014954 h 1435879"/>
                <a:gd name="connsiteX48" fmla="*/ 207239 w 1757934"/>
                <a:gd name="connsiteY48" fmla="*/ 1044769 h 1435879"/>
                <a:gd name="connsiteX49" fmla="*/ 177424 w 1757934"/>
                <a:gd name="connsiteY49" fmla="*/ 1074585 h 1435879"/>
                <a:gd name="connsiteX50" fmla="*/ 1357768 w 1757934"/>
                <a:gd name="connsiteY50" fmla="*/ 740521 h 1435879"/>
                <a:gd name="connsiteX51" fmla="*/ 1204155 w 1757934"/>
                <a:gd name="connsiteY51" fmla="*/ 922747 h 1435879"/>
                <a:gd name="connsiteX52" fmla="*/ 1192092 w 1757934"/>
                <a:gd name="connsiteY52" fmla="*/ 957940 h 1435879"/>
                <a:gd name="connsiteX53" fmla="*/ 1215741 w 1757934"/>
                <a:gd name="connsiteY53" fmla="*/ 972690 h 1435879"/>
                <a:gd name="connsiteX54" fmla="*/ 1227288 w 1757934"/>
                <a:gd name="connsiteY54" fmla="*/ 970003 h 1435879"/>
                <a:gd name="connsiteX55" fmla="*/ 1355751 w 1757934"/>
                <a:gd name="connsiteY55" fmla="*/ 875319 h 1435879"/>
                <a:gd name="connsiteX56" fmla="*/ 1223514 w 1757934"/>
                <a:gd name="connsiteY56" fmla="*/ 1024979 h 1435879"/>
                <a:gd name="connsiteX57" fmla="*/ 878969 w 1757934"/>
                <a:gd name="connsiteY57" fmla="*/ 1102647 h 1435879"/>
                <a:gd name="connsiteX58" fmla="*/ 534424 w 1757934"/>
                <a:gd name="connsiteY58" fmla="*/ 1024979 h 1435879"/>
                <a:gd name="connsiteX59" fmla="*/ 402285 w 1757934"/>
                <a:gd name="connsiteY59" fmla="*/ 875919 h 1435879"/>
                <a:gd name="connsiteX60" fmla="*/ 509179 w 1757934"/>
                <a:gd name="connsiteY60" fmla="*/ 958897 h 1435879"/>
                <a:gd name="connsiteX61" fmla="*/ 878966 w 1757934"/>
                <a:gd name="connsiteY61" fmla="*/ 1043016 h 1435879"/>
                <a:gd name="connsiteX62" fmla="*/ 994450 w 1757934"/>
                <a:gd name="connsiteY62" fmla="*/ 1035972 h 1435879"/>
                <a:gd name="connsiteX63" fmla="*/ 1017320 w 1757934"/>
                <a:gd name="connsiteY63" fmla="*/ 1006627 h 1435879"/>
                <a:gd name="connsiteX64" fmla="*/ 987975 w 1757934"/>
                <a:gd name="connsiteY64" fmla="*/ 983756 h 1435879"/>
                <a:gd name="connsiteX65" fmla="*/ 878966 w 1757934"/>
                <a:gd name="connsiteY65" fmla="*/ 990400 h 1435879"/>
                <a:gd name="connsiteX66" fmla="*/ 534421 w 1757934"/>
                <a:gd name="connsiteY66" fmla="*/ 912732 h 1435879"/>
                <a:gd name="connsiteX67" fmla="*/ 400163 w 1757934"/>
                <a:gd name="connsiteY67" fmla="*/ 740521 h 1435879"/>
                <a:gd name="connsiteX68" fmla="*/ 400163 w 1757934"/>
                <a:gd name="connsiteY68" fmla="*/ 671756 h 1435879"/>
                <a:gd name="connsiteX69" fmla="*/ 780287 w 1757934"/>
                <a:gd name="connsiteY69" fmla="*/ 834672 h 1435879"/>
                <a:gd name="connsiteX70" fmla="*/ 878934 w 1757934"/>
                <a:gd name="connsiteY70" fmla="*/ 854816 h 1435879"/>
                <a:gd name="connsiteX71" fmla="*/ 977764 w 1757934"/>
                <a:gd name="connsiteY71" fmla="*/ 834622 h 1435879"/>
                <a:gd name="connsiteX72" fmla="*/ 1357768 w 1757934"/>
                <a:gd name="connsiteY72" fmla="*/ 671763 h 1435879"/>
                <a:gd name="connsiteX73" fmla="*/ 1357768 w 1757934"/>
                <a:gd name="connsiteY73" fmla="*/ 740521 h 1435879"/>
                <a:gd name="connsiteX74" fmla="*/ 1670224 w 1757934"/>
                <a:gd name="connsiteY74" fmla="*/ 480603 h 1435879"/>
                <a:gd name="connsiteX75" fmla="*/ 957033 w 1757934"/>
                <a:gd name="connsiteY75" fmla="*/ 786255 h 1435879"/>
                <a:gd name="connsiteX76" fmla="*/ 801014 w 1757934"/>
                <a:gd name="connsiteY76" fmla="*/ 786307 h 1435879"/>
                <a:gd name="connsiteX77" fmla="*/ 255951 w 1757934"/>
                <a:gd name="connsiteY77" fmla="*/ 552704 h 1435879"/>
                <a:gd name="connsiteX78" fmla="*/ 755375 w 1757934"/>
                <a:gd name="connsiteY78" fmla="*/ 465846 h 1435879"/>
                <a:gd name="connsiteX79" fmla="*/ 878966 w 1757934"/>
                <a:gd name="connsiteY79" fmla="*/ 509840 h 1435879"/>
                <a:gd name="connsiteX80" fmla="*/ 1017520 w 1757934"/>
                <a:gd name="connsiteY80" fmla="*/ 427409 h 1435879"/>
                <a:gd name="connsiteX81" fmla="*/ 878966 w 1757934"/>
                <a:gd name="connsiteY81" fmla="*/ 344978 h 1435879"/>
                <a:gd name="connsiteX82" fmla="*/ 741895 w 1757934"/>
                <a:gd name="connsiteY82" fmla="*/ 414781 h 1435879"/>
                <a:gd name="connsiteX83" fmla="*/ 172916 w 1757934"/>
                <a:gd name="connsiteY83" fmla="*/ 513734 h 1435879"/>
                <a:gd name="connsiteX84" fmla="*/ 168121 w 1757934"/>
                <a:gd name="connsiteY84" fmla="*/ 515056 h 1435879"/>
                <a:gd name="connsiteX85" fmla="*/ 87675 w 1757934"/>
                <a:gd name="connsiteY85" fmla="*/ 480575 h 1435879"/>
                <a:gd name="connsiteX86" fmla="*/ 52616 w 1757934"/>
                <a:gd name="connsiteY86" fmla="*/ 427423 h 1435879"/>
                <a:gd name="connsiteX87" fmla="*/ 87714 w 1757934"/>
                <a:gd name="connsiteY87" fmla="*/ 374207 h 1435879"/>
                <a:gd name="connsiteX88" fmla="*/ 800902 w 1757934"/>
                <a:gd name="connsiteY88" fmla="*/ 68553 h 1435879"/>
                <a:gd name="connsiteX89" fmla="*/ 879008 w 1757934"/>
                <a:gd name="connsiteY89" fmla="*/ 52592 h 1435879"/>
                <a:gd name="connsiteX90" fmla="*/ 956925 w 1757934"/>
                <a:gd name="connsiteY90" fmla="*/ 68500 h 1435879"/>
                <a:gd name="connsiteX91" fmla="*/ 1670267 w 1757934"/>
                <a:gd name="connsiteY91" fmla="*/ 374225 h 1435879"/>
                <a:gd name="connsiteX92" fmla="*/ 1705323 w 1757934"/>
                <a:gd name="connsiteY92" fmla="*/ 427384 h 1435879"/>
                <a:gd name="connsiteX93" fmla="*/ 1670224 w 1757934"/>
                <a:gd name="connsiteY93" fmla="*/ 480603 h 1435879"/>
                <a:gd name="connsiteX94" fmla="*/ 793027 w 1757934"/>
                <a:gd name="connsiteY94" fmla="*/ 427412 h 1435879"/>
                <a:gd name="connsiteX95" fmla="*/ 878966 w 1757934"/>
                <a:gd name="connsiteY95" fmla="*/ 397597 h 1435879"/>
                <a:gd name="connsiteX96" fmla="*/ 964905 w 1757934"/>
                <a:gd name="connsiteY96" fmla="*/ 427412 h 1435879"/>
                <a:gd name="connsiteX97" fmla="*/ 878966 w 1757934"/>
                <a:gd name="connsiteY97" fmla="*/ 457228 h 1435879"/>
                <a:gd name="connsiteX98" fmla="*/ 793027 w 1757934"/>
                <a:gd name="connsiteY98" fmla="*/ 427412 h 143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57934" h="1435879">
                  <a:moveTo>
                    <a:pt x="1690994" y="325868"/>
                  </a:moveTo>
                  <a:lnTo>
                    <a:pt x="977652" y="20143"/>
                  </a:lnTo>
                  <a:cubicBezTo>
                    <a:pt x="914937" y="-6733"/>
                    <a:pt x="842966" y="-6712"/>
                    <a:pt x="780175" y="20195"/>
                  </a:cubicBezTo>
                  <a:lnTo>
                    <a:pt x="66987" y="325850"/>
                  </a:lnTo>
                  <a:cubicBezTo>
                    <a:pt x="25669" y="343554"/>
                    <a:pt x="0" y="382475"/>
                    <a:pt x="0" y="427423"/>
                  </a:cubicBezTo>
                  <a:cubicBezTo>
                    <a:pt x="0" y="472346"/>
                    <a:pt x="25652" y="511247"/>
                    <a:pt x="66945" y="528943"/>
                  </a:cubicBezTo>
                  <a:lnTo>
                    <a:pt x="151249" y="565076"/>
                  </a:lnTo>
                  <a:cubicBezTo>
                    <a:pt x="151161" y="565946"/>
                    <a:pt x="151116" y="566830"/>
                    <a:pt x="151116" y="567721"/>
                  </a:cubicBezTo>
                  <a:lnTo>
                    <a:pt x="151116" y="966667"/>
                  </a:lnTo>
                  <a:cubicBezTo>
                    <a:pt x="118529" y="977674"/>
                    <a:pt x="94992" y="1008514"/>
                    <a:pt x="94992" y="1044769"/>
                  </a:cubicBezTo>
                  <a:cubicBezTo>
                    <a:pt x="94992" y="1065788"/>
                    <a:pt x="102913" y="1084985"/>
                    <a:pt x="115909" y="1099563"/>
                  </a:cubicBezTo>
                  <a:cubicBezTo>
                    <a:pt x="101534" y="1113654"/>
                    <a:pt x="91990" y="1132757"/>
                    <a:pt x="90018" y="1154403"/>
                  </a:cubicBezTo>
                  <a:lnTo>
                    <a:pt x="69821" y="1376588"/>
                  </a:lnTo>
                  <a:cubicBezTo>
                    <a:pt x="68442" y="1391766"/>
                    <a:pt x="73546" y="1406920"/>
                    <a:pt x="83820" y="1418172"/>
                  </a:cubicBezTo>
                  <a:cubicBezTo>
                    <a:pt x="94094" y="1429425"/>
                    <a:pt x="108729" y="1435879"/>
                    <a:pt x="123966" y="1435879"/>
                  </a:cubicBezTo>
                  <a:lnTo>
                    <a:pt x="230878" y="1435879"/>
                  </a:lnTo>
                  <a:cubicBezTo>
                    <a:pt x="246115" y="1435879"/>
                    <a:pt x="260749" y="1429425"/>
                    <a:pt x="271023" y="1418172"/>
                  </a:cubicBezTo>
                  <a:cubicBezTo>
                    <a:pt x="281301" y="1406920"/>
                    <a:pt x="286401" y="1391763"/>
                    <a:pt x="285023" y="1376588"/>
                  </a:cubicBezTo>
                  <a:lnTo>
                    <a:pt x="264825" y="1154403"/>
                  </a:lnTo>
                  <a:cubicBezTo>
                    <a:pt x="262857" y="1132760"/>
                    <a:pt x="253309" y="1113657"/>
                    <a:pt x="238935" y="1099563"/>
                  </a:cubicBezTo>
                  <a:cubicBezTo>
                    <a:pt x="251931" y="1084989"/>
                    <a:pt x="259851" y="1065791"/>
                    <a:pt x="259851" y="1044769"/>
                  </a:cubicBezTo>
                  <a:cubicBezTo>
                    <a:pt x="259851" y="1008517"/>
                    <a:pt x="236314" y="977677"/>
                    <a:pt x="203728" y="966667"/>
                  </a:cubicBezTo>
                  <a:lnTo>
                    <a:pt x="203728" y="587567"/>
                  </a:lnTo>
                  <a:lnTo>
                    <a:pt x="347677" y="649261"/>
                  </a:lnTo>
                  <a:cubicBezTo>
                    <a:pt x="347590" y="650131"/>
                    <a:pt x="347544" y="651011"/>
                    <a:pt x="347544" y="651902"/>
                  </a:cubicBezTo>
                  <a:lnTo>
                    <a:pt x="347544" y="852764"/>
                  </a:lnTo>
                  <a:cubicBezTo>
                    <a:pt x="347544" y="936595"/>
                    <a:pt x="404944" y="1014147"/>
                    <a:pt x="509176" y="1071140"/>
                  </a:cubicBezTo>
                  <a:cubicBezTo>
                    <a:pt x="608381" y="1125384"/>
                    <a:pt x="739710" y="1155259"/>
                    <a:pt x="878962" y="1155259"/>
                  </a:cubicBezTo>
                  <a:cubicBezTo>
                    <a:pt x="1018215" y="1155259"/>
                    <a:pt x="1149543" y="1125384"/>
                    <a:pt x="1248749" y="1071140"/>
                  </a:cubicBezTo>
                  <a:cubicBezTo>
                    <a:pt x="1352977" y="1014147"/>
                    <a:pt x="1410380" y="936595"/>
                    <a:pt x="1410380" y="852764"/>
                  </a:cubicBezTo>
                  <a:lnTo>
                    <a:pt x="1410380" y="651902"/>
                  </a:lnTo>
                  <a:cubicBezTo>
                    <a:pt x="1410380" y="651011"/>
                    <a:pt x="1410335" y="650131"/>
                    <a:pt x="1410247" y="649265"/>
                  </a:cubicBezTo>
                  <a:lnTo>
                    <a:pt x="1690948" y="528964"/>
                  </a:lnTo>
                  <a:cubicBezTo>
                    <a:pt x="1732265" y="511257"/>
                    <a:pt x="1757935" y="472332"/>
                    <a:pt x="1757935" y="427388"/>
                  </a:cubicBezTo>
                  <a:cubicBezTo>
                    <a:pt x="1757938" y="382465"/>
                    <a:pt x="1732286" y="343564"/>
                    <a:pt x="1690994" y="325868"/>
                  </a:cubicBezTo>
                  <a:close/>
                  <a:moveTo>
                    <a:pt x="232172" y="1382692"/>
                  </a:moveTo>
                  <a:cubicBezTo>
                    <a:pt x="231653" y="1383264"/>
                    <a:pt x="231088" y="1383264"/>
                    <a:pt x="230878" y="1383264"/>
                  </a:cubicBezTo>
                  <a:lnTo>
                    <a:pt x="123966" y="1383264"/>
                  </a:lnTo>
                  <a:cubicBezTo>
                    <a:pt x="123752" y="1383264"/>
                    <a:pt x="123191" y="1383264"/>
                    <a:pt x="122672" y="1382692"/>
                  </a:cubicBezTo>
                  <a:cubicBezTo>
                    <a:pt x="122149" y="1382120"/>
                    <a:pt x="122202" y="1381562"/>
                    <a:pt x="122219" y="1381352"/>
                  </a:cubicBezTo>
                  <a:lnTo>
                    <a:pt x="142417" y="1159166"/>
                  </a:lnTo>
                  <a:cubicBezTo>
                    <a:pt x="144076" y="1140944"/>
                    <a:pt x="159124" y="1127201"/>
                    <a:pt x="177424" y="1127201"/>
                  </a:cubicBezTo>
                  <a:cubicBezTo>
                    <a:pt x="195720" y="1127201"/>
                    <a:pt x="210768" y="1140944"/>
                    <a:pt x="212427" y="1159166"/>
                  </a:cubicBezTo>
                  <a:lnTo>
                    <a:pt x="232624" y="1381348"/>
                  </a:lnTo>
                  <a:cubicBezTo>
                    <a:pt x="232645" y="1381562"/>
                    <a:pt x="232695" y="1382120"/>
                    <a:pt x="232172" y="1382692"/>
                  </a:cubicBezTo>
                  <a:close/>
                  <a:moveTo>
                    <a:pt x="177424" y="1074585"/>
                  </a:moveTo>
                  <a:cubicBezTo>
                    <a:pt x="160983" y="1074585"/>
                    <a:pt x="147608" y="1061210"/>
                    <a:pt x="147608" y="1044769"/>
                  </a:cubicBezTo>
                  <a:cubicBezTo>
                    <a:pt x="147608" y="1028329"/>
                    <a:pt x="160983" y="1014954"/>
                    <a:pt x="177424" y="1014954"/>
                  </a:cubicBezTo>
                  <a:cubicBezTo>
                    <a:pt x="193864" y="1014954"/>
                    <a:pt x="207239" y="1028329"/>
                    <a:pt x="207239" y="1044769"/>
                  </a:cubicBezTo>
                  <a:cubicBezTo>
                    <a:pt x="207239" y="1061210"/>
                    <a:pt x="193864" y="1074585"/>
                    <a:pt x="177424" y="1074585"/>
                  </a:cubicBezTo>
                  <a:close/>
                  <a:moveTo>
                    <a:pt x="1357768" y="740521"/>
                  </a:moveTo>
                  <a:cubicBezTo>
                    <a:pt x="1357768" y="808550"/>
                    <a:pt x="1301778" y="874968"/>
                    <a:pt x="1204155" y="922747"/>
                  </a:cubicBezTo>
                  <a:cubicBezTo>
                    <a:pt x="1191103" y="929134"/>
                    <a:pt x="1185705" y="944891"/>
                    <a:pt x="1192092" y="957940"/>
                  </a:cubicBezTo>
                  <a:cubicBezTo>
                    <a:pt x="1196656" y="967270"/>
                    <a:pt x="1206011" y="972690"/>
                    <a:pt x="1215741" y="972690"/>
                  </a:cubicBezTo>
                  <a:cubicBezTo>
                    <a:pt x="1219624" y="972690"/>
                    <a:pt x="1223563" y="971827"/>
                    <a:pt x="1227288" y="970003"/>
                  </a:cubicBezTo>
                  <a:cubicBezTo>
                    <a:pt x="1281437" y="943502"/>
                    <a:pt x="1324820" y="911217"/>
                    <a:pt x="1355751" y="875319"/>
                  </a:cubicBezTo>
                  <a:cubicBezTo>
                    <a:pt x="1345888" y="930797"/>
                    <a:pt x="1299821" y="983255"/>
                    <a:pt x="1223514" y="1024979"/>
                  </a:cubicBezTo>
                  <a:cubicBezTo>
                    <a:pt x="1131914" y="1075066"/>
                    <a:pt x="1009554" y="1102647"/>
                    <a:pt x="878969" y="1102647"/>
                  </a:cubicBezTo>
                  <a:cubicBezTo>
                    <a:pt x="748384" y="1102647"/>
                    <a:pt x="626025" y="1075066"/>
                    <a:pt x="534424" y="1024979"/>
                  </a:cubicBezTo>
                  <a:cubicBezTo>
                    <a:pt x="458395" y="983406"/>
                    <a:pt x="412373" y="931176"/>
                    <a:pt x="402285" y="875919"/>
                  </a:cubicBezTo>
                  <a:cubicBezTo>
                    <a:pt x="428877" y="906573"/>
                    <a:pt x="464758" y="934606"/>
                    <a:pt x="509179" y="958897"/>
                  </a:cubicBezTo>
                  <a:cubicBezTo>
                    <a:pt x="608384" y="1013140"/>
                    <a:pt x="739713" y="1043016"/>
                    <a:pt x="878966" y="1043016"/>
                  </a:cubicBezTo>
                  <a:cubicBezTo>
                    <a:pt x="917922" y="1043016"/>
                    <a:pt x="956777" y="1040644"/>
                    <a:pt x="994450" y="1035972"/>
                  </a:cubicBezTo>
                  <a:cubicBezTo>
                    <a:pt x="1008870" y="1034183"/>
                    <a:pt x="1019109" y="1021047"/>
                    <a:pt x="1017320" y="1006627"/>
                  </a:cubicBezTo>
                  <a:cubicBezTo>
                    <a:pt x="1015531" y="992206"/>
                    <a:pt x="1002412" y="981964"/>
                    <a:pt x="987975" y="983756"/>
                  </a:cubicBezTo>
                  <a:cubicBezTo>
                    <a:pt x="952442" y="988166"/>
                    <a:pt x="915765" y="990400"/>
                    <a:pt x="878966" y="990400"/>
                  </a:cubicBezTo>
                  <a:cubicBezTo>
                    <a:pt x="748381" y="990400"/>
                    <a:pt x="626021" y="962819"/>
                    <a:pt x="534421" y="912732"/>
                  </a:cubicBezTo>
                  <a:cubicBezTo>
                    <a:pt x="447843" y="865392"/>
                    <a:pt x="400163" y="804235"/>
                    <a:pt x="400163" y="740521"/>
                  </a:cubicBezTo>
                  <a:lnTo>
                    <a:pt x="400163" y="671756"/>
                  </a:lnTo>
                  <a:lnTo>
                    <a:pt x="780287" y="834672"/>
                  </a:lnTo>
                  <a:cubicBezTo>
                    <a:pt x="811625" y="848103"/>
                    <a:pt x="845271" y="854816"/>
                    <a:pt x="878934" y="854816"/>
                  </a:cubicBezTo>
                  <a:cubicBezTo>
                    <a:pt x="912636" y="854816"/>
                    <a:pt x="946352" y="848085"/>
                    <a:pt x="977764" y="834622"/>
                  </a:cubicBezTo>
                  <a:lnTo>
                    <a:pt x="1357768" y="671763"/>
                  </a:lnTo>
                  <a:lnTo>
                    <a:pt x="1357768" y="740521"/>
                  </a:lnTo>
                  <a:close/>
                  <a:moveTo>
                    <a:pt x="1670224" y="480603"/>
                  </a:moveTo>
                  <a:lnTo>
                    <a:pt x="957033" y="786255"/>
                  </a:lnTo>
                  <a:cubicBezTo>
                    <a:pt x="907420" y="807518"/>
                    <a:pt x="850553" y="807536"/>
                    <a:pt x="801014" y="786307"/>
                  </a:cubicBezTo>
                  <a:lnTo>
                    <a:pt x="255951" y="552704"/>
                  </a:lnTo>
                  <a:lnTo>
                    <a:pt x="755375" y="465846"/>
                  </a:lnTo>
                  <a:cubicBezTo>
                    <a:pt x="777838" y="492431"/>
                    <a:pt x="823617" y="509840"/>
                    <a:pt x="878966" y="509840"/>
                  </a:cubicBezTo>
                  <a:cubicBezTo>
                    <a:pt x="957956" y="509840"/>
                    <a:pt x="1017520" y="474402"/>
                    <a:pt x="1017520" y="427409"/>
                  </a:cubicBezTo>
                  <a:cubicBezTo>
                    <a:pt x="1017520" y="380416"/>
                    <a:pt x="957956" y="344978"/>
                    <a:pt x="878966" y="344978"/>
                  </a:cubicBezTo>
                  <a:cubicBezTo>
                    <a:pt x="807226" y="344978"/>
                    <a:pt x="751516" y="374211"/>
                    <a:pt x="741895" y="414781"/>
                  </a:cubicBezTo>
                  <a:lnTo>
                    <a:pt x="172916" y="513734"/>
                  </a:lnTo>
                  <a:cubicBezTo>
                    <a:pt x="171246" y="514025"/>
                    <a:pt x="169650" y="514477"/>
                    <a:pt x="168121" y="515056"/>
                  </a:cubicBezTo>
                  <a:lnTo>
                    <a:pt x="87675" y="480575"/>
                  </a:lnTo>
                  <a:cubicBezTo>
                    <a:pt x="65720" y="471175"/>
                    <a:pt x="52616" y="451300"/>
                    <a:pt x="52616" y="427423"/>
                  </a:cubicBezTo>
                  <a:cubicBezTo>
                    <a:pt x="52616" y="403521"/>
                    <a:pt x="65738" y="383626"/>
                    <a:pt x="87714" y="374207"/>
                  </a:cubicBezTo>
                  <a:lnTo>
                    <a:pt x="800902" y="68553"/>
                  </a:lnTo>
                  <a:cubicBezTo>
                    <a:pt x="825733" y="57914"/>
                    <a:pt x="852374" y="52592"/>
                    <a:pt x="879008" y="52592"/>
                  </a:cubicBezTo>
                  <a:cubicBezTo>
                    <a:pt x="905596" y="52592"/>
                    <a:pt x="932178" y="57896"/>
                    <a:pt x="956925" y="68500"/>
                  </a:cubicBezTo>
                  <a:lnTo>
                    <a:pt x="1670267" y="374225"/>
                  </a:lnTo>
                  <a:cubicBezTo>
                    <a:pt x="1692218" y="383633"/>
                    <a:pt x="1705323" y="403507"/>
                    <a:pt x="1705323" y="427384"/>
                  </a:cubicBezTo>
                  <a:cubicBezTo>
                    <a:pt x="1705323" y="451293"/>
                    <a:pt x="1692200" y="471185"/>
                    <a:pt x="1670224" y="480603"/>
                  </a:cubicBezTo>
                  <a:close/>
                  <a:moveTo>
                    <a:pt x="793027" y="427412"/>
                  </a:moveTo>
                  <a:cubicBezTo>
                    <a:pt x="793027" y="419748"/>
                    <a:pt x="822576" y="397597"/>
                    <a:pt x="878966" y="397597"/>
                  </a:cubicBezTo>
                  <a:cubicBezTo>
                    <a:pt x="935356" y="397597"/>
                    <a:pt x="964905" y="419748"/>
                    <a:pt x="964905" y="427412"/>
                  </a:cubicBezTo>
                  <a:cubicBezTo>
                    <a:pt x="964905" y="435077"/>
                    <a:pt x="935356" y="457228"/>
                    <a:pt x="878966" y="457228"/>
                  </a:cubicBezTo>
                  <a:cubicBezTo>
                    <a:pt x="822576" y="457228"/>
                    <a:pt x="793027" y="435073"/>
                    <a:pt x="793027" y="427412"/>
                  </a:cubicBezTo>
                  <a:close/>
                </a:path>
              </a:pathLst>
            </a:custGeom>
            <a:noFill/>
            <a:ln w="16073" cap="flat">
              <a:solidFill>
                <a:schemeClr val="bg1">
                  <a:alpha val="41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8580025-6DE0-787A-6AA8-FA8D57C4B878}"/>
                </a:ext>
              </a:extLst>
            </p:cNvPr>
            <p:cNvSpPr/>
            <p:nvPr/>
          </p:nvSpPr>
          <p:spPr>
            <a:xfrm>
              <a:off x="10791866" y="-94791"/>
              <a:ext cx="108749" cy="67917"/>
            </a:xfrm>
            <a:custGeom>
              <a:avLst/>
              <a:gdLst>
                <a:gd name="connsiteX0" fmla="*/ 26290 w 108749"/>
                <a:gd name="connsiteY0" fmla="*/ 67918 h 67917"/>
                <a:gd name="connsiteX1" fmla="*/ 32236 w 108749"/>
                <a:gd name="connsiteY1" fmla="*/ 67237 h 67917"/>
                <a:gd name="connsiteX2" fmla="*/ 90369 w 108749"/>
                <a:gd name="connsiteY2" fmla="*/ 51400 h 67917"/>
                <a:gd name="connsiteX3" fmla="*/ 107518 w 108749"/>
                <a:gd name="connsiteY3" fmla="*/ 18385 h 67917"/>
                <a:gd name="connsiteX4" fmla="*/ 74500 w 108749"/>
                <a:gd name="connsiteY4" fmla="*/ 1233 h 67917"/>
                <a:gd name="connsiteX5" fmla="*/ 20394 w 108749"/>
                <a:gd name="connsiteY5" fmla="*/ 15969 h 67917"/>
                <a:gd name="connsiteX6" fmla="*/ 680 w 108749"/>
                <a:gd name="connsiteY6" fmla="*/ 47520 h 67917"/>
                <a:gd name="connsiteX7" fmla="*/ 26290 w 108749"/>
                <a:gd name="connsiteY7" fmla="*/ 67918 h 6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749" h="67917">
                  <a:moveTo>
                    <a:pt x="26290" y="67918"/>
                  </a:moveTo>
                  <a:cubicBezTo>
                    <a:pt x="28251" y="67918"/>
                    <a:pt x="30243" y="67697"/>
                    <a:pt x="32236" y="67237"/>
                  </a:cubicBezTo>
                  <a:cubicBezTo>
                    <a:pt x="52089" y="62649"/>
                    <a:pt x="71648" y="57324"/>
                    <a:pt x="90369" y="51400"/>
                  </a:cubicBezTo>
                  <a:cubicBezTo>
                    <a:pt x="104221" y="47019"/>
                    <a:pt x="111899" y="32237"/>
                    <a:pt x="107518" y="18385"/>
                  </a:cubicBezTo>
                  <a:cubicBezTo>
                    <a:pt x="103137" y="4533"/>
                    <a:pt x="88359" y="-3152"/>
                    <a:pt x="74500" y="1233"/>
                  </a:cubicBezTo>
                  <a:cubicBezTo>
                    <a:pt x="57102" y="6736"/>
                    <a:pt x="38897" y="11693"/>
                    <a:pt x="20394" y="15969"/>
                  </a:cubicBezTo>
                  <a:cubicBezTo>
                    <a:pt x="6237" y="19238"/>
                    <a:pt x="-2589" y="33363"/>
                    <a:pt x="680" y="47520"/>
                  </a:cubicBezTo>
                  <a:cubicBezTo>
                    <a:pt x="3494" y="59689"/>
                    <a:pt x="14318" y="67918"/>
                    <a:pt x="26290" y="67918"/>
                  </a:cubicBezTo>
                  <a:close/>
                </a:path>
              </a:pathLst>
            </a:custGeom>
            <a:noFill/>
            <a:ln w="16073" cap="flat">
              <a:solidFill>
                <a:schemeClr val="bg1">
                  <a:alpha val="41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ABEF0A71-FFD0-A1B8-BAA4-80C981004A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2063978"/>
              </p:ext>
            </p:extLst>
          </p:nvPr>
        </p:nvGraphicFramePr>
        <p:xfrm>
          <a:off x="521866" y="2019300"/>
          <a:ext cx="11148269" cy="4099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017A16-6011-A0D2-D7E8-4F6636E1F720}"/>
              </a:ext>
            </a:extLst>
          </p:cNvPr>
          <p:cNvCxnSpPr>
            <a:cxnSpLocks/>
          </p:cNvCxnSpPr>
          <p:nvPr/>
        </p:nvCxnSpPr>
        <p:spPr>
          <a:xfrm>
            <a:off x="936171" y="2246657"/>
            <a:ext cx="6741886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2C7F712-0187-D179-1544-BAC17F326928}"/>
              </a:ext>
            </a:extLst>
          </p:cNvPr>
          <p:cNvSpPr txBox="1"/>
          <p:nvPr/>
        </p:nvSpPr>
        <p:spPr>
          <a:xfrm>
            <a:off x="2728937" y="2108158"/>
            <a:ext cx="1835760" cy="27699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0" rIns="9144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b="1" dirty="0"/>
              <a:t>Actual €2.06b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7D9C54-FC72-D659-77C6-58FA00742F74}"/>
              </a:ext>
            </a:extLst>
          </p:cNvPr>
          <p:cNvCxnSpPr>
            <a:cxnSpLocks/>
          </p:cNvCxnSpPr>
          <p:nvPr/>
        </p:nvCxnSpPr>
        <p:spPr>
          <a:xfrm>
            <a:off x="8229600" y="2246657"/>
            <a:ext cx="3048000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A824E9F-323C-3A16-2A27-77E70366D9BB}"/>
              </a:ext>
            </a:extLst>
          </p:cNvPr>
          <p:cNvSpPr txBox="1"/>
          <p:nvPr/>
        </p:nvSpPr>
        <p:spPr>
          <a:xfrm>
            <a:off x="8664199" y="2108158"/>
            <a:ext cx="2178802" cy="27699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0" rIns="91440" bIns="0" rtlCol="0" anchor="ctr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Poppins" panose="00000500000000000000" pitchFamily="2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Poppins" panose="00000500000000000000" pitchFamily="2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Poppins" panose="00000500000000000000" pitchFamily="2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Poppins" panose="00000500000000000000" pitchFamily="2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Poppins" panose="00000500000000000000" pitchFamily="2" charset="0"/>
              </a:defRPr>
            </a:lvl5pPr>
          </a:lstStyle>
          <a:p>
            <a:pPr algn="ctr"/>
            <a:r>
              <a:rPr lang="en-US" b="1" dirty="0"/>
              <a:t>Forecasted €1.2b</a:t>
            </a:r>
          </a:p>
        </p:txBody>
      </p:sp>
    </p:spTree>
    <p:extLst>
      <p:ext uri="{BB962C8B-B14F-4D97-AF65-F5344CB8AC3E}">
        <p14:creationId xmlns:p14="http://schemas.microsoft.com/office/powerpoint/2010/main" val="1603481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2</Words>
  <Application>Microsoft Office PowerPoint</Application>
  <PresentationFormat>Widescreen</PresentationFormat>
  <Paragraphs>286</Paragraphs>
  <Slides>15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Lato</vt:lpstr>
      <vt:lpstr>Poppins</vt:lpstr>
      <vt:lpstr>Office Theme</vt:lpstr>
      <vt:lpstr>1_Office Theme</vt:lpstr>
      <vt:lpstr>think-cell Slide</vt:lpstr>
      <vt:lpstr>PowerPoint Presentation</vt:lpstr>
      <vt:lpstr>PowerPoint Presentation</vt:lpstr>
      <vt:lpstr>Using Data to Drive Change</vt:lpstr>
      <vt:lpstr>Diversity of Education Sector</vt:lpstr>
      <vt:lpstr>PowerPoint Presentation</vt:lpstr>
      <vt:lpstr>PowerPoint Presentation</vt:lpstr>
      <vt:lpstr>PowerPoint Presentation</vt:lpstr>
      <vt:lpstr>PowerPoint Presentation</vt:lpstr>
      <vt:lpstr>Education Sector (ETBs &amp; HEIs) - MAPP Data - Summary Chart </vt:lpstr>
      <vt:lpstr>PowerPoint Presentation</vt:lpstr>
      <vt:lpstr>PowerPoint Presentation</vt:lpstr>
      <vt:lpstr>Data Driven Forward Planning</vt:lpstr>
      <vt:lpstr>PowerPoint Presentation</vt:lpstr>
      <vt:lpstr>PowerPoint Presentation</vt:lpstr>
      <vt:lpstr>Challenges for the Fu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S Bala</dc:creator>
  <cp:lastModifiedBy>Roisin.Bennett</cp:lastModifiedBy>
  <cp:revision>124</cp:revision>
  <dcterms:created xsi:type="dcterms:W3CDTF">2022-10-26T13:50:46Z</dcterms:created>
  <dcterms:modified xsi:type="dcterms:W3CDTF">2022-11-03T23:41:00Z</dcterms:modified>
</cp:coreProperties>
</file>